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7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8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40.xml" ContentType="application/vnd.openxmlformats-officedocument.presentationml.notesSlide+xml"/>
  <Override PartName="/ppt/comments/comment7.xml" ContentType="application/vnd.openxmlformats-officedocument.presentationml.comments+xml"/>
  <Override PartName="/ppt/notesSlides/notesSlide41.xml" ContentType="application/vnd.openxmlformats-officedocument.presentationml.notesSlide+xml"/>
  <Override PartName="/ppt/comments/comment8.xml" ContentType="application/vnd.openxmlformats-officedocument.presentationml.comment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comments/comment9.xml" ContentType="application/vnd.openxmlformats-officedocument.presentationml.comments+xml"/>
  <Override PartName="/ppt/notesSlides/notesSlide44.xml" ContentType="application/vnd.openxmlformats-officedocument.presentationml.notesSlide+xml"/>
  <Override PartName="/ppt/comments/comment10.xml" ContentType="application/vnd.openxmlformats-officedocument.presentationml.comment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708" r:id="rId3"/>
  </p:sldMasterIdLst>
  <p:notesMasterIdLst>
    <p:notesMasterId r:id="rId72"/>
  </p:notesMasterIdLst>
  <p:sldIdLst>
    <p:sldId id="256" r:id="rId4"/>
    <p:sldId id="1276" r:id="rId5"/>
    <p:sldId id="1259" r:id="rId6"/>
    <p:sldId id="260" r:id="rId7"/>
    <p:sldId id="1202" r:id="rId8"/>
    <p:sldId id="1205" r:id="rId9"/>
    <p:sldId id="1286" r:id="rId10"/>
    <p:sldId id="1287" r:id="rId11"/>
    <p:sldId id="1270" r:id="rId12"/>
    <p:sldId id="1288" r:id="rId13"/>
    <p:sldId id="1233" r:id="rId14"/>
    <p:sldId id="1234" r:id="rId15"/>
    <p:sldId id="1262" r:id="rId16"/>
    <p:sldId id="1265" r:id="rId17"/>
    <p:sldId id="1264" r:id="rId18"/>
    <p:sldId id="1266" r:id="rId19"/>
    <p:sldId id="1239" r:id="rId20"/>
    <p:sldId id="1293" r:id="rId21"/>
    <p:sldId id="719" r:id="rId22"/>
    <p:sldId id="1191" r:id="rId23"/>
    <p:sldId id="1192" r:id="rId24"/>
    <p:sldId id="1260" r:id="rId25"/>
    <p:sldId id="1294" r:id="rId26"/>
    <p:sldId id="1261" r:id="rId27"/>
    <p:sldId id="1295" r:id="rId28"/>
    <p:sldId id="1197" r:id="rId29"/>
    <p:sldId id="1218" r:id="rId30"/>
    <p:sldId id="1216" r:id="rId31"/>
    <p:sldId id="1225" r:id="rId32"/>
    <p:sldId id="1226" r:id="rId33"/>
    <p:sldId id="1240" r:id="rId34"/>
    <p:sldId id="1296" r:id="rId35"/>
    <p:sldId id="1241" r:id="rId36"/>
    <p:sldId id="1244" r:id="rId37"/>
    <p:sldId id="1242" r:id="rId38"/>
    <p:sldId id="1245" r:id="rId39"/>
    <p:sldId id="1243" r:id="rId40"/>
    <p:sldId id="1246" r:id="rId41"/>
    <p:sldId id="1247" r:id="rId42"/>
    <p:sldId id="1274" r:id="rId43"/>
    <p:sldId id="1230" r:id="rId44"/>
    <p:sldId id="1219" r:id="rId45"/>
    <p:sldId id="1278" r:id="rId46"/>
    <p:sldId id="1292" r:id="rId47"/>
    <p:sldId id="1279" r:id="rId48"/>
    <p:sldId id="1297" r:id="rId49"/>
    <p:sldId id="1298" r:id="rId50"/>
    <p:sldId id="1546" r:id="rId51"/>
    <p:sldId id="1283" r:id="rId52"/>
    <p:sldId id="1299" r:id="rId53"/>
    <p:sldId id="1284" r:id="rId54"/>
    <p:sldId id="469" r:id="rId55"/>
    <p:sldId id="461" r:id="rId56"/>
    <p:sldId id="1188" r:id="rId57"/>
    <p:sldId id="1210" r:id="rId58"/>
    <p:sldId id="1206" r:id="rId59"/>
    <p:sldId id="1250" r:id="rId60"/>
    <p:sldId id="1251" r:id="rId61"/>
    <p:sldId id="1253" r:id="rId62"/>
    <p:sldId id="1252" r:id="rId63"/>
    <p:sldId id="1255" r:id="rId64"/>
    <p:sldId id="1256" r:id="rId65"/>
    <p:sldId id="1257" r:id="rId66"/>
    <p:sldId id="1258" r:id="rId67"/>
    <p:sldId id="1208" r:id="rId68"/>
    <p:sldId id="1227" r:id="rId69"/>
    <p:sldId id="1228" r:id="rId70"/>
    <p:sldId id="1229" r:id="rId71"/>
  </p:sldIdLst>
  <p:sldSz cx="9144000" cy="6858000" type="screen4x3"/>
  <p:notesSz cx="6858000" cy="9144000"/>
  <p:custDataLst>
    <p:tags r:id="rId7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uel Rodríguez González" initials="SRG" lastIdx="1" clrIdx="0">
    <p:extLst>
      <p:ext uri="{19B8F6BF-5375-455C-9EA6-DF929625EA0E}">
        <p15:presenceInfo xmlns:p15="http://schemas.microsoft.com/office/powerpoint/2012/main" userId="4e8010a22e9a8b2a" providerId="Windows Live"/>
      </p:ext>
    </p:extLst>
  </p:cmAuthor>
  <p:cmAuthor id="2" name="Samuel Rodriguez Gonzalez" initials="SRG" lastIdx="20" clrIdx="1">
    <p:extLst>
      <p:ext uri="{19B8F6BF-5375-455C-9EA6-DF929625EA0E}">
        <p15:presenceInfo xmlns:p15="http://schemas.microsoft.com/office/powerpoint/2012/main" userId="Samuel Rodriguez Gonzale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C1D5"/>
    <a:srgbClr val="F76B15"/>
    <a:srgbClr val="00823B"/>
    <a:srgbClr val="00FF00"/>
    <a:srgbClr val="E9E909"/>
    <a:srgbClr val="EFE9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Énfasis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70" autoAdjust="0"/>
    <p:restoredTop sz="66419" autoAdjust="0"/>
  </p:normalViewPr>
  <p:slideViewPr>
    <p:cSldViewPr>
      <p:cViewPr varScale="1">
        <p:scale>
          <a:sx n="42" d="100"/>
          <a:sy n="42" d="100"/>
        </p:scale>
        <p:origin x="2028" y="3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88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16" Type="http://schemas.openxmlformats.org/officeDocument/2006/relationships/slide" Target="slides/slide1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74" Type="http://schemas.openxmlformats.org/officeDocument/2006/relationships/commentAuthors" Target="commentAuthors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tags" Target="tags/tag1.xml"/><Relationship Id="rId78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viewProps" Target="viewProp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9-09T13:58:48.560" idx="9">
    <p:pos x="10" y="10"/>
    <p:text>Muñequitos</p:text>
    <p:extLst>
      <p:ext uri="{C676402C-5697-4E1C-873F-D02D1690AC5C}">
        <p15:threadingInfo xmlns:p15="http://schemas.microsoft.com/office/powerpoint/2012/main" timeZoneBias="300"/>
      </p:ext>
    </p:extLs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9-09T16:46:33.665" idx="13">
    <p:pos x="10" y="10"/>
    <p:text>Subrayar el año y añadir la referencia en la diap</p:text>
    <p:extLst>
      <p:ext uri="{C676402C-5697-4E1C-873F-D02D1690AC5C}">
        <p15:threadingInfo xmlns:p15="http://schemas.microsoft.com/office/powerpoint/2012/main" timeZoneBias="300"/>
      </p:ext>
    </p:extLst>
  </p:cm>
  <p:cm authorId="2" dt="2020-09-09T16:54:04.281" idx="14">
    <p:pos x="10" y="146"/>
    <p:text>poner las diaps de camilo</p:text>
    <p:extLst>
      <p:ext uri="{C676402C-5697-4E1C-873F-D02D1690AC5C}">
        <p15:threadingInfo xmlns:p15="http://schemas.microsoft.com/office/powerpoint/2012/main" timeZoneBias="300">
          <p15:parentCm authorId="2" idx="13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9-08T10:54:52.416" idx="3">
    <p:pos x="10" y="10"/>
    <p:text/>
    <p:extLst>
      <p:ext uri="{C676402C-5697-4E1C-873F-D02D1690AC5C}">
        <p15:threadingInfo xmlns:p15="http://schemas.microsoft.com/office/powerpoint/2012/main" timeZoneBias="30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9-08T10:55:18.320" idx="4">
    <p:pos x="10" y="10"/>
    <p:text>Tabla de literatura binivel entero</p:text>
    <p:extLst>
      <p:ext uri="{C676402C-5697-4E1C-873F-D02D1690AC5C}">
        <p15:threadingInfo xmlns:p15="http://schemas.microsoft.com/office/powerpoint/2012/main" timeZoneBias="300"/>
      </p:ext>
    </p:extLst>
  </p:cm>
  <p:cm authorId="2" dt="2020-09-09T13:46:58.361" idx="6">
    <p:pos x="10" y="146"/>
    <p:text>Encerrar el de fischetti</p:text>
    <p:extLst>
      <p:ext uri="{C676402C-5697-4E1C-873F-D02D1690AC5C}">
        <p15:threadingInfo xmlns:p15="http://schemas.microsoft.com/office/powerpoint/2012/main" timeZoneBias="300">
          <p15:parentCm authorId="2" idx="4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9-09T13:53:42.983" idx="7">
    <p:pos x="10" y="10"/>
    <p:text>Hacer énfasis en los parámetros y variables importantes</p:text>
    <p:extLst>
      <p:ext uri="{C676402C-5697-4E1C-873F-D02D1690AC5C}">
        <p15:threadingInfo xmlns:p15="http://schemas.microsoft.com/office/powerpoint/2012/main" timeZoneBias="30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9-09T14:13:05.078" idx="12">
    <p:pos x="10" y="10"/>
    <p:text>Dejar solo esta</p:text>
    <p:extLst>
      <p:ext uri="{C676402C-5697-4E1C-873F-D02D1690AC5C}">
        <p15:threadingInfo xmlns:p15="http://schemas.microsoft.com/office/powerpoint/2012/main" timeZoneBias="30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9-09T16:46:33.665" idx="13">
    <p:pos x="10" y="10"/>
    <p:text>Subrayar el año y añadir la referencia en la diap</p:text>
    <p:extLst>
      <p:ext uri="{C676402C-5697-4E1C-873F-D02D1690AC5C}">
        <p15:threadingInfo xmlns:p15="http://schemas.microsoft.com/office/powerpoint/2012/main" timeZoneBias="300"/>
      </p:ext>
    </p:extLst>
  </p:cm>
  <p:cm authorId="2" dt="2020-09-09T16:54:04.281" idx="14">
    <p:pos x="10" y="146"/>
    <p:text>poner las diaps de camilo</p:text>
    <p:extLst>
      <p:ext uri="{C676402C-5697-4E1C-873F-D02D1690AC5C}">
        <p15:threadingInfo xmlns:p15="http://schemas.microsoft.com/office/powerpoint/2012/main" timeZoneBias="300">
          <p15:parentCm authorId="2" idx="13"/>
        </p15:threadingInfo>
      </p:ext>
    </p:extLs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9-09T16:46:33.665" idx="13">
    <p:pos x="10" y="10"/>
    <p:text>Subrayar el año y añadir la referencia en la diap</p:text>
    <p:extLst>
      <p:ext uri="{C676402C-5697-4E1C-873F-D02D1690AC5C}">
        <p15:threadingInfo xmlns:p15="http://schemas.microsoft.com/office/powerpoint/2012/main" timeZoneBias="300"/>
      </p:ext>
    </p:extLst>
  </p:cm>
  <p:cm authorId="2" dt="2020-09-09T16:54:04.281" idx="14">
    <p:pos x="10" y="146"/>
    <p:text>poner las diaps de camilo</p:text>
    <p:extLst>
      <p:ext uri="{C676402C-5697-4E1C-873F-D02D1690AC5C}">
        <p15:threadingInfo xmlns:p15="http://schemas.microsoft.com/office/powerpoint/2012/main" timeZoneBias="300">
          <p15:parentCm authorId="2" idx="13"/>
        </p15:threadingInfo>
      </p:ext>
    </p:extLs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9-09T16:46:33.665" idx="13">
    <p:pos x="10" y="10"/>
    <p:text>Subrayar el año y añadir la referencia en la diap</p:text>
    <p:extLst>
      <p:ext uri="{C676402C-5697-4E1C-873F-D02D1690AC5C}">
        <p15:threadingInfo xmlns:p15="http://schemas.microsoft.com/office/powerpoint/2012/main" timeZoneBias="300"/>
      </p:ext>
    </p:extLst>
  </p:cm>
  <p:cm authorId="2" dt="2020-09-09T16:54:04.281" idx="14">
    <p:pos x="10" y="146"/>
    <p:text>poner las diaps de camilo</p:text>
    <p:extLst>
      <p:ext uri="{C676402C-5697-4E1C-873F-D02D1690AC5C}">
        <p15:threadingInfo xmlns:p15="http://schemas.microsoft.com/office/powerpoint/2012/main" timeZoneBias="300">
          <p15:parentCm authorId="2" idx="13"/>
        </p15:threadingInfo>
      </p:ext>
    </p:extLs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9-09T16:54:05.874" idx="15">
    <p:pos x="10" y="10"/>
    <p:text>Ponerlo horizontal tipo línea de tiempo:</p:text>
    <p:extLst>
      <p:ext uri="{C676402C-5697-4E1C-873F-D02D1690AC5C}">
        <p15:threadingInfo xmlns:p15="http://schemas.microsoft.com/office/powerpoint/2012/main" timeZoneBias="300"/>
      </p:ext>
    </p:extLst>
  </p:cm>
  <p:cm authorId="2" dt="2020-09-09T16:55:57.056" idx="16">
    <p:pos x="10" y="146"/>
    <p:text>itos: suficiencia llegar con los temas muy bien entendidos</p:text>
    <p:extLst>
      <p:ext uri="{C676402C-5697-4E1C-873F-D02D1690AC5C}">
        <p15:threadingInfo xmlns:p15="http://schemas.microsoft.com/office/powerpoint/2012/main" timeZoneBias="300">
          <p15:parentCm authorId="2" idx="15"/>
        </p15:threadingInfo>
      </p:ext>
    </p:extLst>
  </p:cm>
  <p:cm authorId="2" dt="2020-09-09T16:56:13.805" idx="17">
    <p:pos x="10" y="282"/>
    <p:text>candidatura</p:text>
    <p:extLst>
      <p:ext uri="{C676402C-5697-4E1C-873F-D02D1690AC5C}">
        <p15:threadingInfo xmlns:p15="http://schemas.microsoft.com/office/powerpoint/2012/main" timeZoneBias="300">
          <p15:parentCm authorId="2" idx="15"/>
        </p15:threadingInfo>
      </p:ext>
    </p:extLst>
  </p:cm>
  <p:cm authorId="2" dt="2020-09-09T16:56:41.727" idx="18">
    <p:pos x="10" y="418"/>
    <p:text>disertation/defensa</p:text>
    <p:extLst>
      <p:ext uri="{C676402C-5697-4E1C-873F-D02D1690AC5C}">
        <p15:threadingInfo xmlns:p15="http://schemas.microsoft.com/office/powerpoint/2012/main" timeZoneBias="300">
          <p15:parentCm authorId="2" idx="15"/>
        </p15:threadingInfo>
      </p:ext>
    </p:extLst>
  </p:cm>
  <p:cm authorId="2" dt="2020-09-09T17:00:54.987" idx="19">
    <p:pos x="10" y="554"/>
    <p:text>poner lo de bertsekas</p:text>
    <p:extLst>
      <p:ext uri="{C676402C-5697-4E1C-873F-D02D1690AC5C}">
        <p15:threadingInfo xmlns:p15="http://schemas.microsoft.com/office/powerpoint/2012/main" timeZoneBias="300">
          <p15:parentCm authorId="2" idx="15"/>
        </p15:threadingInfo>
      </p:ext>
    </p:extLst>
  </p:cm>
  <p:cm authorId="2" dt="2020-09-09T20:59:03.142" idx="20">
    <p:pos x="146" y="146"/>
    <p:text/>
    <p:extLst>
      <p:ext uri="{C676402C-5697-4E1C-873F-D02D1690AC5C}">
        <p15:threadingInfo xmlns:p15="http://schemas.microsoft.com/office/powerpoint/2012/main" timeZoneBias="30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B87156-B8C1-4318-869D-40F9BD3A8E59}" type="datetimeFigureOut">
              <a:rPr lang="en-US" smtClean="0"/>
              <a:pPr/>
              <a:t>9/3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EE9A5B-17D6-4505-97CF-AD8F8FA90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2110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3410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s-CO" baseline="0" dirty="0"/>
              <a:t>Explicar el por qué hicimos un B&amp;B de cero.</a:t>
            </a:r>
          </a:p>
          <a:p>
            <a:pPr marL="171450" indent="-171450">
              <a:buFontTx/>
              <a:buChar char="-"/>
            </a:pPr>
            <a:r>
              <a:rPr lang="es-CO" baseline="0" dirty="0"/>
              <a:t>Branch en variables enteras.</a:t>
            </a:r>
          </a:p>
          <a:p>
            <a:pPr marL="171450" indent="-171450">
              <a:buFontTx/>
              <a:buChar char="-"/>
            </a:pPr>
            <a:r>
              <a:rPr lang="es-CO" baseline="0" dirty="0"/>
              <a:t>Factibilidad </a:t>
            </a:r>
            <a:r>
              <a:rPr lang="es-CO" baseline="0" dirty="0" err="1"/>
              <a:t>binivel</a:t>
            </a:r>
            <a:endParaRPr lang="en-U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96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3487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3054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Minimizar gasto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1265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8136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3732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206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 relación entre los dos problemas es que el principal escoge el tamaño de las multas/incentivos y estas se reflejan en las restricciones del agente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2231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s-CO" baseline="0" dirty="0"/>
              <a:t>Explicar el por qué hicimos un B&amp;B de cero.</a:t>
            </a:r>
          </a:p>
          <a:p>
            <a:pPr marL="171450" indent="-171450">
              <a:buFontTx/>
              <a:buChar char="-"/>
            </a:pPr>
            <a:r>
              <a:rPr lang="es-CO" baseline="0" dirty="0"/>
              <a:t>Branch en variables enteras.</a:t>
            </a:r>
          </a:p>
          <a:p>
            <a:pPr marL="171450" indent="-171450">
              <a:buFontTx/>
              <a:buChar char="-"/>
            </a:pPr>
            <a:r>
              <a:rPr lang="es-CO" baseline="0" dirty="0"/>
              <a:t>Factibilidad </a:t>
            </a:r>
            <a:r>
              <a:rPr lang="es-CO" baseline="0" dirty="0" err="1"/>
              <a:t>binivel</a:t>
            </a:r>
            <a:endParaRPr lang="en-U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5796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694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baseline="0" dirty="0"/>
              <a:t>Las decisiones que uno toma dependen de fenómenos inciertos y de decisiones de otros. Hablar de la bolsa.</a:t>
            </a:r>
          </a:p>
          <a:p>
            <a:r>
              <a:rPr lang="es-CO" baseline="0" dirty="0"/>
              <a:t>Tanto en </a:t>
            </a:r>
            <a:r>
              <a:rPr lang="es-CO" baseline="0" dirty="0" err="1"/>
              <a:t>MSc</a:t>
            </a:r>
            <a:r>
              <a:rPr lang="es-CO" baseline="0" dirty="0"/>
              <a:t> y PhD queremos abordar este tipo de problemas, usualmente grandes (finanzas, operaciones, desastres, etc.).</a:t>
            </a:r>
            <a:endParaRPr lang="en-U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6211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83862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 major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puest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l follower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1485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0005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s-CO" baseline="0" dirty="0"/>
              <a:t>Explicar el por qué hicimos un B&amp;B de cero.</a:t>
            </a:r>
          </a:p>
          <a:p>
            <a:pPr marL="171450" indent="-171450">
              <a:buFontTx/>
              <a:buChar char="-"/>
            </a:pPr>
            <a:r>
              <a:rPr lang="es-CO" baseline="0" dirty="0"/>
              <a:t>Branch en variables enteras.</a:t>
            </a:r>
          </a:p>
          <a:p>
            <a:pPr marL="171450" indent="-171450">
              <a:buFontTx/>
              <a:buChar char="-"/>
            </a:pPr>
            <a:r>
              <a:rPr lang="es-CO" baseline="0" dirty="0"/>
              <a:t>Factibilidad </a:t>
            </a:r>
            <a:r>
              <a:rPr lang="es-CO" baseline="0" dirty="0" err="1"/>
              <a:t>binivel</a:t>
            </a:r>
            <a:endParaRPr lang="en-U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8454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98752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s-CO" baseline="0" dirty="0"/>
              <a:t>Explicar el por qué hicimos un B&amp;B de cero.</a:t>
            </a:r>
          </a:p>
          <a:p>
            <a:pPr marL="171450" indent="-171450">
              <a:buFontTx/>
              <a:buChar char="-"/>
            </a:pPr>
            <a:r>
              <a:rPr lang="es-CO" baseline="0" dirty="0"/>
              <a:t>Branch en variables enteras.</a:t>
            </a:r>
          </a:p>
          <a:p>
            <a:pPr marL="171450" indent="-171450">
              <a:buFontTx/>
              <a:buChar char="-"/>
            </a:pPr>
            <a:r>
              <a:rPr lang="es-CO" baseline="0" dirty="0"/>
              <a:t>Factibilidad </a:t>
            </a:r>
            <a:r>
              <a:rPr lang="es-CO" baseline="0" dirty="0" err="1"/>
              <a:t>binivel</a:t>
            </a:r>
            <a:endParaRPr lang="en-U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7254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49682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82760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65334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ow intuition with small example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9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aseline="0" dirty="0" err="1"/>
              <a:t>Qué</a:t>
            </a:r>
            <a:r>
              <a:rPr lang="en-US" baseline="0" dirty="0"/>
              <a:t> es un PPP y pros/cons -&gt; introducer el PA problem -&gt; </a:t>
            </a:r>
            <a:r>
              <a:rPr lang="en-US" baseline="0" dirty="0" err="1"/>
              <a:t>ej</a:t>
            </a:r>
            <a:r>
              <a:rPr lang="en-US" baseline="0" dirty="0"/>
              <a:t> </a:t>
            </a:r>
            <a:r>
              <a:rPr lang="en-US" baseline="0" dirty="0" err="1"/>
              <a:t>mecánico</a:t>
            </a:r>
            <a:endParaRPr lang="en-US" baseline="0" dirty="0"/>
          </a:p>
          <a:p>
            <a:pPr marL="171450" indent="-171450">
              <a:buFontTx/>
              <a:buChar char="-"/>
            </a:pPr>
            <a:endParaRPr lang="en-US" baseline="0" dirty="0"/>
          </a:p>
          <a:p>
            <a:r>
              <a:rPr lang="en-US" baseline="0" dirty="0"/>
              <a:t>- Las </a:t>
            </a:r>
            <a:r>
              <a:rPr lang="en-US" baseline="0" dirty="0" err="1"/>
              <a:t>decisiones</a:t>
            </a:r>
            <a:r>
              <a:rPr lang="en-US" baseline="0" dirty="0"/>
              <a:t> de </a:t>
            </a:r>
            <a:r>
              <a:rPr lang="en-US" baseline="0" dirty="0" err="1"/>
              <a:t>cada</a:t>
            </a:r>
            <a:r>
              <a:rPr lang="en-US" baseline="0" dirty="0"/>
              <a:t> actor </a:t>
            </a:r>
            <a:r>
              <a:rPr lang="en-US" baseline="0" dirty="0" err="1"/>
              <a:t>dependen</a:t>
            </a:r>
            <a:r>
              <a:rPr lang="en-US" baseline="0" dirty="0"/>
              <a:t> entre </a:t>
            </a:r>
            <a:r>
              <a:rPr lang="en-US" baseline="0" dirty="0" err="1"/>
              <a:t>ellas</a:t>
            </a:r>
            <a:r>
              <a:rPr lang="en-US" baseline="0" dirty="0"/>
              <a:t> -&gt; </a:t>
            </a:r>
            <a:r>
              <a:rPr lang="en-US" baseline="0" dirty="0" err="1"/>
              <a:t>ej</a:t>
            </a:r>
            <a:r>
              <a:rPr lang="en-US" baseline="0" dirty="0"/>
              <a:t> el </a:t>
            </a:r>
            <a:r>
              <a:rPr lang="en-US" baseline="0" dirty="0" err="1"/>
              <a:t>agente</a:t>
            </a:r>
            <a:r>
              <a:rPr lang="en-US" baseline="0" dirty="0"/>
              <a:t> </a:t>
            </a:r>
            <a:r>
              <a:rPr lang="en-US" baseline="0" dirty="0" err="1"/>
              <a:t>busca</a:t>
            </a:r>
            <a:r>
              <a:rPr lang="en-US" baseline="0" dirty="0"/>
              <a:t> </a:t>
            </a:r>
            <a:r>
              <a:rPr lang="en-US" baseline="0" dirty="0" err="1"/>
              <a:t>su</a:t>
            </a:r>
            <a:r>
              <a:rPr lang="en-US" baseline="0" dirty="0"/>
              <a:t> </a:t>
            </a:r>
            <a:r>
              <a:rPr lang="en-US" baseline="0" dirty="0" err="1"/>
              <a:t>propio</a:t>
            </a:r>
            <a:r>
              <a:rPr lang="en-US" baseline="0" dirty="0"/>
              <a:t> </a:t>
            </a:r>
            <a:r>
              <a:rPr lang="en-US" baseline="0" dirty="0" err="1"/>
              <a:t>interés</a:t>
            </a:r>
            <a:r>
              <a:rPr lang="en-US" baseline="0" dirty="0"/>
              <a:t> (malas </a:t>
            </a:r>
            <a:r>
              <a:rPr lang="en-US" baseline="0" dirty="0" err="1"/>
              <a:t>decisiones</a:t>
            </a:r>
            <a:r>
              <a:rPr lang="en-US" baseline="0" dirty="0"/>
              <a:t> a </a:t>
            </a:r>
            <a:r>
              <a:rPr lang="en-US" baseline="0" dirty="0" err="1"/>
              <a:t>ojos</a:t>
            </a:r>
            <a:r>
              <a:rPr lang="en-US" baseline="0" dirty="0"/>
              <a:t> del </a:t>
            </a:r>
            <a:r>
              <a:rPr lang="en-US" baseline="0" dirty="0" err="1"/>
              <a:t>ppal</a:t>
            </a:r>
            <a:r>
              <a:rPr lang="en-US" baseline="0" dirty="0"/>
              <a:t>), el principal </a:t>
            </a:r>
            <a:r>
              <a:rPr lang="en-US" baseline="0" dirty="0" err="1"/>
              <a:t>puede</a:t>
            </a:r>
            <a:r>
              <a:rPr lang="en-US" baseline="0" dirty="0"/>
              <a:t> </a:t>
            </a:r>
            <a:r>
              <a:rPr lang="en-US" baseline="0" dirty="0" err="1"/>
              <a:t>tomar</a:t>
            </a:r>
            <a:r>
              <a:rPr lang="en-US" baseline="0" dirty="0"/>
              <a:t> </a:t>
            </a:r>
            <a:r>
              <a:rPr lang="en-US" baseline="0" dirty="0" err="1"/>
              <a:t>acciones</a:t>
            </a:r>
            <a:r>
              <a:rPr lang="en-US" baseline="0" dirty="0"/>
              <a:t> de </a:t>
            </a:r>
            <a:r>
              <a:rPr lang="en-US" baseline="0" dirty="0" err="1"/>
              <a:t>monitoreo</a:t>
            </a:r>
            <a:r>
              <a:rPr lang="en-US" baseline="0" dirty="0"/>
              <a:t> (</a:t>
            </a:r>
            <a:r>
              <a:rPr lang="en-US" baseline="0" dirty="0" err="1"/>
              <a:t>incentivos</a:t>
            </a:r>
            <a:r>
              <a:rPr lang="en-US" baseline="0" dirty="0"/>
              <a:t>, </a:t>
            </a:r>
            <a:r>
              <a:rPr lang="en-US" baseline="0" dirty="0" err="1"/>
              <a:t>multas</a:t>
            </a:r>
            <a:r>
              <a:rPr lang="en-US" baseline="0" dirty="0"/>
              <a:t>) -&gt; </a:t>
            </a:r>
            <a:r>
              <a:rPr lang="en-US" baseline="0" dirty="0" err="1"/>
              <a:t>relaciones</a:t>
            </a:r>
            <a:r>
              <a:rPr lang="en-US" baseline="0" dirty="0"/>
              <a:t> </a:t>
            </a:r>
            <a:r>
              <a:rPr lang="en-US" baseline="0" dirty="0" err="1"/>
              <a:t>contractuales</a:t>
            </a:r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- La </a:t>
            </a:r>
            <a:r>
              <a:rPr lang="en-US" baseline="0" dirty="0" err="1"/>
              <a:t>incertidumbre</a:t>
            </a:r>
            <a:r>
              <a:rPr lang="en-US" baseline="0" dirty="0"/>
              <a:t> </a:t>
            </a:r>
            <a:r>
              <a:rPr lang="en-US" baseline="0" dirty="0" err="1"/>
              <a:t>donde</a:t>
            </a:r>
            <a:r>
              <a:rPr lang="en-US" baseline="0" dirty="0"/>
              <a:t> </a:t>
            </a:r>
            <a:r>
              <a:rPr lang="en-US" baseline="0" dirty="0" err="1"/>
              <a:t>está</a:t>
            </a:r>
            <a:r>
              <a:rPr lang="en-US" baseline="0" dirty="0"/>
              <a:t>? </a:t>
            </a:r>
            <a:r>
              <a:rPr lang="en-US" baseline="0" dirty="0" err="1"/>
              <a:t>Naturaleza</a:t>
            </a:r>
            <a:r>
              <a:rPr lang="en-US" baseline="0" dirty="0"/>
              <a:t>, </a:t>
            </a:r>
            <a:r>
              <a:rPr lang="en-US" baseline="0" dirty="0" err="1"/>
              <a:t>terrorismo</a:t>
            </a:r>
            <a:r>
              <a:rPr lang="en-US" baseline="0" dirty="0"/>
              <a:t>, </a:t>
            </a:r>
            <a:r>
              <a:rPr lang="en-US" baseline="0" dirty="0" err="1"/>
              <a:t>tasas</a:t>
            </a:r>
            <a:r>
              <a:rPr lang="en-US" baseline="0" dirty="0"/>
              <a:t> de </a:t>
            </a:r>
            <a:r>
              <a:rPr lang="en-US" baseline="0" dirty="0" err="1"/>
              <a:t>cambio</a:t>
            </a:r>
            <a:r>
              <a:rPr lang="en-US" baseline="0" dirty="0"/>
              <a:t>. –&gt; Como </a:t>
            </a:r>
            <a:r>
              <a:rPr lang="en-US" baseline="0" dirty="0" err="1"/>
              <a:t>afecta</a:t>
            </a:r>
            <a:r>
              <a:rPr lang="en-US" baseline="0" dirty="0"/>
              <a:t> los </a:t>
            </a:r>
            <a:r>
              <a:rPr lang="en-US" baseline="0" dirty="0" err="1"/>
              <a:t>intereses</a:t>
            </a:r>
            <a:r>
              <a:rPr lang="en-US" baseline="0" dirty="0"/>
              <a:t> de ambas </a:t>
            </a:r>
            <a:r>
              <a:rPr lang="en-US" baseline="0" dirty="0" err="1"/>
              <a:t>partes</a:t>
            </a:r>
            <a:r>
              <a:rPr lang="en-US" baseline="0" dirty="0"/>
              <a:t> </a:t>
            </a:r>
          </a:p>
          <a:p>
            <a:endParaRPr lang="en-US" baseline="0" dirty="0"/>
          </a:p>
          <a:p>
            <a:r>
              <a:rPr lang="en-US" baseline="0" dirty="0"/>
              <a:t>- </a:t>
            </a:r>
            <a:r>
              <a:rPr lang="en-US" baseline="0" dirty="0" err="1"/>
              <a:t>Queremos</a:t>
            </a:r>
            <a:r>
              <a:rPr lang="en-US" baseline="0" dirty="0"/>
              <a:t> </a:t>
            </a:r>
            <a:r>
              <a:rPr lang="en-US" baseline="0" dirty="0" err="1"/>
              <a:t>trabajar</a:t>
            </a:r>
            <a:r>
              <a:rPr lang="en-US" baseline="0" dirty="0"/>
              <a:t> </a:t>
            </a:r>
            <a:r>
              <a:rPr lang="en-US" baseline="0" dirty="0" err="1"/>
              <a:t>todo</a:t>
            </a:r>
            <a:r>
              <a:rPr lang="en-US" baseline="0" dirty="0"/>
              <a:t> </a:t>
            </a:r>
            <a:r>
              <a:rPr lang="en-US" baseline="0" dirty="0" err="1"/>
              <a:t>este</a:t>
            </a:r>
            <a:r>
              <a:rPr lang="en-US" baseline="0" dirty="0"/>
              <a:t> </a:t>
            </a:r>
            <a:r>
              <a:rPr lang="en-US" baseline="0" dirty="0" err="1"/>
              <a:t>contexto</a:t>
            </a:r>
            <a:r>
              <a:rPr lang="en-US" baseline="0" dirty="0"/>
              <a:t> </a:t>
            </a:r>
            <a:r>
              <a:rPr lang="en-US" baseline="0" dirty="0" err="1"/>
              <a:t>en</a:t>
            </a:r>
            <a:r>
              <a:rPr lang="en-US" baseline="0" dirty="0"/>
              <a:t> la </a:t>
            </a:r>
            <a:r>
              <a:rPr lang="en-US" baseline="0" dirty="0" err="1"/>
              <a:t>maestría</a:t>
            </a:r>
            <a:r>
              <a:rPr lang="en-US" baseline="0" dirty="0"/>
              <a:t> </a:t>
            </a:r>
            <a:r>
              <a:rPr lang="en-US" baseline="0" dirty="0" err="1"/>
              <a:t>trabajamos</a:t>
            </a:r>
            <a:r>
              <a:rPr lang="en-US" baseline="0" dirty="0"/>
              <a:t> los dos </a:t>
            </a:r>
            <a:r>
              <a:rPr lang="en-US" baseline="0" dirty="0" err="1"/>
              <a:t>primeros</a:t>
            </a:r>
            <a:r>
              <a:rPr lang="en-US" baseline="0" dirty="0"/>
              <a:t> bullets y </a:t>
            </a:r>
            <a:r>
              <a:rPr lang="en-US" baseline="0" dirty="0" err="1"/>
              <a:t>en</a:t>
            </a:r>
            <a:r>
              <a:rPr lang="en-US" baseline="0" dirty="0"/>
              <a:t> el PhD </a:t>
            </a:r>
            <a:r>
              <a:rPr lang="en-US" baseline="0" dirty="0" err="1"/>
              <a:t>queremos</a:t>
            </a:r>
            <a:r>
              <a:rPr lang="en-US" baseline="0" dirty="0"/>
              <a:t> </a:t>
            </a:r>
            <a:r>
              <a:rPr lang="en-US" baseline="0" dirty="0" err="1"/>
              <a:t>involucrar</a:t>
            </a:r>
            <a:r>
              <a:rPr lang="en-US" baseline="0" dirty="0"/>
              <a:t> el </a:t>
            </a:r>
            <a:r>
              <a:rPr lang="en-US" baseline="0" dirty="0" err="1"/>
              <a:t>trabajo</a:t>
            </a:r>
            <a:r>
              <a:rPr lang="en-US" baseline="0" dirty="0"/>
              <a:t> de Natalia</a:t>
            </a:r>
          </a:p>
          <a:p>
            <a:r>
              <a:rPr lang="en-US" baseline="0" dirty="0"/>
              <a:t>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0969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6100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s-CO" baseline="0" dirty="0"/>
              <a:t>Explicar el por qué hicimos un B&amp;B de cero.</a:t>
            </a:r>
          </a:p>
          <a:p>
            <a:pPr marL="171450" indent="-171450">
              <a:buFontTx/>
              <a:buChar char="-"/>
            </a:pPr>
            <a:r>
              <a:rPr lang="es-CO" baseline="0" dirty="0"/>
              <a:t>Branch en variables enteras.</a:t>
            </a:r>
          </a:p>
          <a:p>
            <a:pPr marL="171450" indent="-171450">
              <a:buFontTx/>
              <a:buChar char="-"/>
            </a:pPr>
            <a:r>
              <a:rPr lang="es-CO" baseline="0" dirty="0"/>
              <a:t>Factibilidad </a:t>
            </a:r>
            <a:r>
              <a:rPr lang="es-CO" baseline="0" dirty="0" err="1"/>
              <a:t>binivel</a:t>
            </a:r>
            <a:endParaRPr lang="en-U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55043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Nuestros valores son muy relajados, queremos hacerlo mas realista</a:t>
            </a:r>
          </a:p>
          <a:p>
            <a:r>
              <a:rPr lang="es-CO" dirty="0"/>
              <a:t>Se resuelve el HPR que incluye las restricciones de ambos jugadores</a:t>
            </a:r>
          </a:p>
          <a:p>
            <a:r>
              <a:rPr lang="es-CO" dirty="0"/>
              <a:t>Como el principal cree según su FO sería el resultado de la cosa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08479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50016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2718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55753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CONTEXT repetido</a:t>
            </a:r>
          </a:p>
          <a:p>
            <a:endParaRPr lang="es-CO" dirty="0"/>
          </a:p>
          <a:p>
            <a:r>
              <a:rPr lang="es-CO" dirty="0"/>
              <a:t>Incertidumbre ya tiene un modelo que trabajaron Natalia torres y Daniel Suarez</a:t>
            </a:r>
          </a:p>
          <a:p>
            <a:r>
              <a:rPr lang="es-CO" dirty="0"/>
              <a:t>Cómo complementar esos dos modelos cuando el </a:t>
            </a:r>
            <a:r>
              <a:rPr lang="es-CO" dirty="0" err="1"/>
              <a:t>binivel</a:t>
            </a:r>
            <a:r>
              <a:rPr lang="es-CO" dirty="0"/>
              <a:t> esté corriendo bien</a:t>
            </a:r>
          </a:p>
          <a:p>
            <a:r>
              <a:rPr lang="es-CO" dirty="0"/>
              <a:t>Cerrando la maestría para mandar un </a:t>
            </a:r>
            <a:r>
              <a:rPr lang="es-CO" dirty="0" err="1"/>
              <a:t>paper</a:t>
            </a:r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60040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89852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baseline="0" dirty="0"/>
              <a:t>Enfocarnos en la </a:t>
            </a:r>
            <a:r>
              <a:rPr lang="es-CO" baseline="0" dirty="0" err="1"/>
              <a:t>incert</a:t>
            </a:r>
            <a:endParaRPr lang="en-U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84378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Nos queremos enfocar en la incertidumbre. Ver </a:t>
            </a:r>
            <a:r>
              <a:rPr lang="es-CO" dirty="0" err="1"/>
              <a:t>powell</a:t>
            </a:r>
            <a:r>
              <a:rPr lang="es-CO" dirty="0"/>
              <a:t>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7814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baseline="0" dirty="0"/>
              <a:t>Si el principal </a:t>
            </a:r>
            <a:r>
              <a:rPr lang="en-US" baseline="0" dirty="0" err="1"/>
              <a:t>pudiese</a:t>
            </a:r>
            <a:r>
              <a:rPr lang="en-US" baseline="0" dirty="0"/>
              <a:t> </a:t>
            </a:r>
            <a:r>
              <a:rPr lang="en-US" baseline="0" dirty="0" err="1"/>
              <a:t>hacer</a:t>
            </a:r>
            <a:r>
              <a:rPr lang="en-US" baseline="0" dirty="0"/>
              <a:t> el </a:t>
            </a:r>
            <a:r>
              <a:rPr lang="en-US" baseline="0" dirty="0" err="1"/>
              <a:t>mantenimiento</a:t>
            </a:r>
            <a:r>
              <a:rPr lang="en-US" baseline="0" dirty="0"/>
              <a:t> </a:t>
            </a:r>
            <a:r>
              <a:rPr lang="en-US" baseline="0" dirty="0" err="1"/>
              <a:t>ya</a:t>
            </a:r>
            <a:r>
              <a:rPr lang="en-US" baseline="0" dirty="0"/>
              <a:t> </a:t>
            </a:r>
            <a:r>
              <a:rPr lang="en-US" baseline="0" dirty="0" err="1"/>
              <a:t>estaría</a:t>
            </a:r>
            <a:r>
              <a:rPr lang="en-US" baseline="0" dirty="0"/>
              <a:t> </a:t>
            </a:r>
            <a:r>
              <a:rPr lang="en-US" baseline="0" dirty="0" err="1"/>
              <a:t>resuelto</a:t>
            </a:r>
            <a:r>
              <a:rPr lang="en-US" baseline="0" dirty="0"/>
              <a:t> el </a:t>
            </a:r>
            <a:r>
              <a:rPr lang="en-US" baseline="0" dirty="0" err="1"/>
              <a:t>problema</a:t>
            </a:r>
            <a:r>
              <a:rPr lang="en-US" baseline="0" dirty="0"/>
              <a:t>. Pero no, el solo </a:t>
            </a:r>
            <a:r>
              <a:rPr lang="en-US" baseline="0" dirty="0" err="1"/>
              <a:t>puede</a:t>
            </a:r>
            <a:r>
              <a:rPr lang="en-US" baseline="0" dirty="0"/>
              <a:t> </a:t>
            </a:r>
            <a:r>
              <a:rPr lang="en-US" baseline="0" dirty="0" err="1"/>
              <a:t>ajustar</a:t>
            </a:r>
            <a:r>
              <a:rPr lang="en-US" baseline="0" dirty="0"/>
              <a:t> las </a:t>
            </a:r>
            <a:r>
              <a:rPr lang="en-US" baseline="0" dirty="0" err="1"/>
              <a:t>reglas</a:t>
            </a:r>
            <a:r>
              <a:rPr lang="en-US" baseline="0" dirty="0"/>
              <a:t> de </a:t>
            </a:r>
            <a:r>
              <a:rPr lang="en-US" baseline="0" dirty="0" err="1"/>
              <a:t>juego</a:t>
            </a:r>
            <a:r>
              <a:rPr lang="en-US" baseline="0" dirty="0"/>
              <a:t> y </a:t>
            </a:r>
            <a:r>
              <a:rPr lang="en-US" baseline="0" dirty="0" err="1"/>
              <a:t>ver</a:t>
            </a:r>
            <a:r>
              <a:rPr lang="en-US" baseline="0" dirty="0"/>
              <a:t> </a:t>
            </a:r>
            <a:r>
              <a:rPr lang="en-US" baseline="0" dirty="0" err="1"/>
              <a:t>como</a:t>
            </a:r>
            <a:r>
              <a:rPr lang="en-US" baseline="0" dirty="0"/>
              <a:t> </a:t>
            </a:r>
            <a:r>
              <a:rPr lang="en-US" baseline="0" dirty="0" err="1"/>
              <a:t>reacciona</a:t>
            </a:r>
            <a:r>
              <a:rPr lang="en-US" baseline="0" dirty="0"/>
              <a:t> el </a:t>
            </a:r>
            <a:r>
              <a:rPr lang="en-US" baseline="0" dirty="0" err="1"/>
              <a:t>agente</a:t>
            </a:r>
            <a:r>
              <a:rPr lang="en-US" baseline="0" dirty="0"/>
              <a:t>. No </a:t>
            </a:r>
            <a:r>
              <a:rPr lang="en-US" baseline="0" dirty="0" err="1"/>
              <a:t>nos</a:t>
            </a:r>
            <a:r>
              <a:rPr lang="en-US" baseline="0" dirty="0"/>
              <a:t> </a:t>
            </a:r>
            <a:r>
              <a:rPr lang="en-US" baseline="0" dirty="0" err="1"/>
              <a:t>gusta</a:t>
            </a:r>
            <a:r>
              <a:rPr lang="en-US" baseline="0" dirty="0"/>
              <a:t> </a:t>
            </a:r>
            <a:r>
              <a:rPr lang="en-US" baseline="0" dirty="0" err="1"/>
              <a:t>como</a:t>
            </a:r>
            <a:r>
              <a:rPr lang="en-US" baseline="0" dirty="0"/>
              <a:t> </a:t>
            </a:r>
            <a:r>
              <a:rPr lang="en-US" baseline="0" dirty="0" err="1"/>
              <a:t>reacciona</a:t>
            </a:r>
            <a:r>
              <a:rPr lang="en-US" baseline="0" dirty="0"/>
              <a:t> -&gt; </a:t>
            </a:r>
            <a:r>
              <a:rPr lang="en-US" baseline="0" dirty="0" err="1"/>
              <a:t>calibramos</a:t>
            </a:r>
            <a:r>
              <a:rPr lang="en-US" baseline="0" dirty="0"/>
              <a:t> las </a:t>
            </a:r>
            <a:r>
              <a:rPr lang="en-US" baseline="0" dirty="0" err="1"/>
              <a:t>reglas</a:t>
            </a:r>
            <a:r>
              <a:rPr lang="en-US" baseline="0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baseline="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baseline="0" dirty="0" err="1"/>
              <a:t>Decir</a:t>
            </a:r>
            <a:r>
              <a:rPr lang="en-US" baseline="0" dirty="0"/>
              <a:t> las </a:t>
            </a:r>
            <a:r>
              <a:rPr lang="en-US" baseline="0" dirty="0" err="1"/>
              <a:t>decisiones</a:t>
            </a:r>
            <a:r>
              <a:rPr lang="en-US" baseline="0" dirty="0"/>
              <a:t> que </a:t>
            </a:r>
            <a:r>
              <a:rPr lang="en-US" baseline="0" dirty="0" err="1"/>
              <a:t>pueden</a:t>
            </a:r>
            <a:r>
              <a:rPr lang="en-US" baseline="0" dirty="0"/>
              <a:t> </a:t>
            </a:r>
            <a:r>
              <a:rPr lang="en-US" baseline="0" dirty="0" err="1"/>
              <a:t>tomar</a:t>
            </a:r>
            <a:r>
              <a:rPr lang="en-US" baseline="0" dirty="0"/>
              <a:t> tanto el </a:t>
            </a:r>
            <a:r>
              <a:rPr lang="en-US" baseline="0" dirty="0" err="1"/>
              <a:t>agente</a:t>
            </a:r>
            <a:r>
              <a:rPr lang="en-US" baseline="0" dirty="0"/>
              <a:t> </a:t>
            </a:r>
            <a:r>
              <a:rPr lang="en-US" baseline="0" dirty="0" err="1"/>
              <a:t>mantenimiento</a:t>
            </a:r>
            <a:r>
              <a:rPr lang="en-US" baseline="0" dirty="0"/>
              <a:t> y el principal </a:t>
            </a:r>
            <a:r>
              <a:rPr lang="en-US" baseline="0" dirty="0" err="1"/>
              <a:t>inspecciones</a:t>
            </a:r>
            <a:r>
              <a:rPr lang="en-US" baseline="0" dirty="0"/>
              <a:t> -&gt; </a:t>
            </a:r>
            <a:r>
              <a:rPr lang="en-US" baseline="0" dirty="0" err="1"/>
              <a:t>esto</a:t>
            </a:r>
            <a:r>
              <a:rPr lang="en-US" baseline="0" dirty="0"/>
              <a:t> es </a:t>
            </a:r>
            <a:r>
              <a:rPr lang="en-US" baseline="0" dirty="0" err="1"/>
              <a:t>costoso</a:t>
            </a:r>
            <a:r>
              <a:rPr lang="en-US" baseline="0" dirty="0"/>
              <a:t> (CUAL ES EL PROBLEMA QUE NOSOTROS TENEMOS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baseline="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baseline="0" dirty="0"/>
              <a:t>El </a:t>
            </a:r>
            <a:r>
              <a:rPr lang="en-US" baseline="0" dirty="0" err="1"/>
              <a:t>agente</a:t>
            </a:r>
            <a:r>
              <a:rPr lang="en-US" baseline="0" dirty="0"/>
              <a:t> </a:t>
            </a:r>
            <a:r>
              <a:rPr lang="en-US" baseline="0" dirty="0" err="1"/>
              <a:t>sabe</a:t>
            </a:r>
            <a:r>
              <a:rPr lang="en-US" baseline="0" dirty="0"/>
              <a:t> que lo van a </a:t>
            </a:r>
            <a:r>
              <a:rPr lang="en-US" baseline="0" dirty="0" err="1"/>
              <a:t>inspeccionar</a:t>
            </a:r>
            <a:r>
              <a:rPr lang="en-US" baseline="0" dirty="0"/>
              <a:t> </a:t>
            </a:r>
            <a:r>
              <a:rPr lang="en-US" baseline="0" dirty="0" err="1"/>
              <a:t>entonces</a:t>
            </a:r>
            <a:r>
              <a:rPr lang="en-US" baseline="0" dirty="0"/>
              <a:t> </a:t>
            </a:r>
            <a:r>
              <a:rPr lang="en-US" baseline="0" dirty="0" err="1"/>
              <a:t>responde</a:t>
            </a:r>
            <a:r>
              <a:rPr lang="en-US" baseline="0" dirty="0"/>
              <a:t> para mayor </a:t>
            </a:r>
            <a:r>
              <a:rPr lang="en-US" baseline="0" dirty="0" err="1"/>
              <a:t>beneficio</a:t>
            </a:r>
            <a:r>
              <a:rPr lang="en-US" baseline="0" dirty="0"/>
              <a:t> (El principal no se </a:t>
            </a:r>
            <a:r>
              <a:rPr lang="en-US" baseline="0" dirty="0" err="1"/>
              <a:t>quiere</a:t>
            </a:r>
            <a:r>
              <a:rPr lang="en-US" baseline="0" dirty="0"/>
              <a:t> </a:t>
            </a:r>
            <a:r>
              <a:rPr lang="en-US" baseline="0" dirty="0" err="1"/>
              <a:t>dejar</a:t>
            </a:r>
            <a:r>
              <a:rPr lang="en-US" baseline="0" dirty="0"/>
              <a:t> </a:t>
            </a:r>
            <a:r>
              <a:rPr lang="en-US" baseline="0" dirty="0" err="1"/>
              <a:t>tumbar</a:t>
            </a:r>
            <a:r>
              <a:rPr lang="en-US" baseline="0" dirty="0"/>
              <a:t> y el </a:t>
            </a:r>
            <a:r>
              <a:rPr lang="en-US" baseline="0" dirty="0" err="1"/>
              <a:t>agente</a:t>
            </a:r>
            <a:r>
              <a:rPr lang="en-US" baseline="0" dirty="0"/>
              <a:t> </a:t>
            </a:r>
            <a:r>
              <a:rPr lang="en-US" baseline="0" dirty="0" err="1"/>
              <a:t>quiere</a:t>
            </a:r>
            <a:r>
              <a:rPr lang="en-US" baseline="0" dirty="0"/>
              <a:t> </a:t>
            </a:r>
            <a:r>
              <a:rPr lang="en-US" baseline="0" dirty="0" err="1"/>
              <a:t>ahorrar</a:t>
            </a:r>
            <a:r>
              <a:rPr lang="en-US" baseline="0" dirty="0"/>
              <a:t> </a:t>
            </a:r>
            <a:r>
              <a:rPr lang="en-US" baseline="0" dirty="0" err="1"/>
              <a:t>plata</a:t>
            </a:r>
            <a:r>
              <a:rPr lang="en-US" baseline="0" dirty="0"/>
              <a:t> </a:t>
            </a:r>
            <a:r>
              <a:rPr lang="en-US" baseline="0" dirty="0" err="1"/>
              <a:t>pero</a:t>
            </a:r>
            <a:r>
              <a:rPr lang="en-US" baseline="0" dirty="0"/>
              <a:t> no se </a:t>
            </a:r>
            <a:r>
              <a:rPr lang="en-US" baseline="0" dirty="0" err="1"/>
              <a:t>va</a:t>
            </a:r>
            <a:r>
              <a:rPr lang="en-US" baseline="0" dirty="0"/>
              <a:t> a </a:t>
            </a:r>
            <a:r>
              <a:rPr lang="en-US" baseline="0" dirty="0" err="1"/>
              <a:t>dejar</a:t>
            </a:r>
            <a:r>
              <a:rPr lang="en-US" baseline="0" dirty="0"/>
              <a:t> </a:t>
            </a:r>
            <a:r>
              <a:rPr lang="en-US" baseline="0" dirty="0" err="1"/>
              <a:t>multar</a:t>
            </a:r>
            <a:r>
              <a:rPr lang="en-US" baseline="0" dirty="0"/>
              <a:t>)</a:t>
            </a:r>
          </a:p>
          <a:p>
            <a:pPr marL="171450" indent="-171450">
              <a:buFontTx/>
              <a:buChar char="-"/>
            </a:pPr>
            <a:endParaRPr lang="en-US" baseline="0" dirty="0"/>
          </a:p>
          <a:p>
            <a:pPr marL="171450" indent="-171450">
              <a:buFontTx/>
              <a:buChar char="-"/>
            </a:pPr>
            <a:endParaRPr lang="en-US" baseline="0" dirty="0"/>
          </a:p>
          <a:p>
            <a:pPr marL="171450" indent="-171450">
              <a:buFontTx/>
              <a:buChar char="-"/>
            </a:pPr>
            <a:r>
              <a:rPr lang="en-US" baseline="0" dirty="0"/>
              <a:t>Dados </a:t>
            </a:r>
            <a:r>
              <a:rPr lang="en-US" baseline="0" dirty="0" err="1"/>
              <a:t>unos</a:t>
            </a:r>
            <a:r>
              <a:rPr lang="en-US" baseline="0" dirty="0"/>
              <a:t> </a:t>
            </a:r>
            <a:r>
              <a:rPr lang="en-US" baseline="0" dirty="0" err="1"/>
              <a:t>pagos</a:t>
            </a:r>
            <a:r>
              <a:rPr lang="en-US" baseline="0" dirty="0"/>
              <a:t>/</a:t>
            </a:r>
            <a:r>
              <a:rPr lang="en-US" baseline="0" dirty="0" err="1"/>
              <a:t>condicones</a:t>
            </a:r>
            <a:r>
              <a:rPr lang="en-US" baseline="0" dirty="0"/>
              <a:t>, </a:t>
            </a:r>
            <a:r>
              <a:rPr lang="en-US" baseline="0" dirty="0" err="1"/>
              <a:t>cuál</a:t>
            </a:r>
            <a:r>
              <a:rPr lang="en-US" baseline="0" dirty="0"/>
              <a:t> es la </a:t>
            </a:r>
            <a:r>
              <a:rPr lang="en-US" baseline="0" dirty="0" err="1"/>
              <a:t>mejor</a:t>
            </a:r>
            <a:r>
              <a:rPr lang="en-US" baseline="0" dirty="0"/>
              <a:t> decision del </a:t>
            </a:r>
            <a:r>
              <a:rPr lang="en-US" baseline="0" dirty="0" err="1"/>
              <a:t>agente</a:t>
            </a:r>
            <a:r>
              <a:rPr lang="en-US" baseline="0" dirty="0"/>
              <a:t> (</a:t>
            </a:r>
            <a:r>
              <a:rPr lang="en-US" baseline="0" dirty="0" err="1"/>
              <a:t>seríamos</a:t>
            </a:r>
            <a:r>
              <a:rPr lang="en-US" baseline="0" dirty="0"/>
              <a:t> </a:t>
            </a:r>
            <a:r>
              <a:rPr lang="en-US" baseline="0" dirty="0" err="1"/>
              <a:t>vulnerables</a:t>
            </a:r>
            <a:r>
              <a:rPr lang="en-US" baseline="0" dirty="0"/>
              <a:t> al PA problem? </a:t>
            </a:r>
            <a:r>
              <a:rPr lang="en-US" baseline="0" dirty="0" err="1"/>
              <a:t>obtendríamos</a:t>
            </a:r>
            <a:r>
              <a:rPr lang="en-US" baseline="0" dirty="0"/>
              <a:t> una </a:t>
            </a:r>
            <a:r>
              <a:rPr lang="en-US" baseline="0" dirty="0" err="1"/>
              <a:t>operación</a:t>
            </a:r>
            <a:r>
              <a:rPr lang="en-US" baseline="0" dirty="0"/>
              <a:t>/</a:t>
            </a:r>
            <a:r>
              <a:rPr lang="en-US" baseline="0" dirty="0" err="1"/>
              <a:t>mantenimiento</a:t>
            </a:r>
            <a:r>
              <a:rPr lang="en-US" baseline="0" dirty="0"/>
              <a:t> </a:t>
            </a:r>
            <a:r>
              <a:rPr lang="en-US" baseline="0" dirty="0" err="1"/>
              <a:t>adecuada</a:t>
            </a:r>
            <a:r>
              <a:rPr lang="en-US" baseline="0" dirty="0"/>
              <a:t>/o?) </a:t>
            </a:r>
            <a:r>
              <a:rPr lang="en-US" baseline="0" dirty="0" err="1"/>
              <a:t>Ejemplos</a:t>
            </a:r>
            <a:r>
              <a:rPr lang="en-US" baseline="0" dirty="0"/>
              <a:t> que </a:t>
            </a:r>
            <a:r>
              <a:rPr lang="en-US" baseline="0" dirty="0" err="1"/>
              <a:t>haría</a:t>
            </a:r>
            <a:r>
              <a:rPr lang="en-US" baseline="0" dirty="0"/>
              <a:t> el </a:t>
            </a:r>
            <a:r>
              <a:rPr lang="en-US" baseline="0" dirty="0" err="1"/>
              <a:t>agente</a:t>
            </a:r>
            <a:r>
              <a:rPr lang="en-US" baseline="0" dirty="0"/>
              <a:t> </a:t>
            </a:r>
            <a:r>
              <a:rPr lang="en-US" baseline="0" dirty="0" err="1"/>
              <a:t>bajos</a:t>
            </a:r>
            <a:r>
              <a:rPr lang="en-US" baseline="0" dirty="0"/>
              <a:t> </a:t>
            </a:r>
            <a:r>
              <a:rPr lang="en-US" baseline="0" dirty="0" err="1"/>
              <a:t>ciertos</a:t>
            </a:r>
            <a:r>
              <a:rPr lang="en-US" baseline="0" dirty="0"/>
              <a:t> </a:t>
            </a:r>
            <a:r>
              <a:rPr lang="en-US" baseline="0" dirty="0" err="1"/>
              <a:t>parametros</a:t>
            </a:r>
            <a:r>
              <a:rPr lang="en-US" baseline="0" dirty="0"/>
              <a:t> (responsible)</a:t>
            </a:r>
          </a:p>
          <a:p>
            <a:pPr marL="171450" indent="-171450">
              <a:buFontTx/>
              <a:buChar char="-"/>
            </a:pPr>
            <a:endParaRPr lang="en-US" baseline="0" dirty="0"/>
          </a:p>
          <a:p>
            <a:endParaRPr lang="en-US" baseline="0" dirty="0"/>
          </a:p>
          <a:p>
            <a:pPr marL="171450" indent="-171450">
              <a:buFontTx/>
              <a:buChar char="-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inspection, incentives) Si el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pal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lica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as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idas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actuales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é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ecto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enen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as decisions del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ente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ede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sar que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os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entivos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ltas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ertes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minen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endo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justas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?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jemplos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uenciar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c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ortamiento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171450" indent="-171450">
              <a:buFontTx/>
              <a:buChar char="-"/>
            </a:pP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Tx/>
              <a:buChar char="-"/>
            </a:pP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plicar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l social equilibrium: 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ando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pecionar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el major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maño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la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lta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entivo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l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l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ma que se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mpla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n el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tivo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o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in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brar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l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ente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No es trivial. Es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y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ficil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rque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ay que considerer las decisions de ambos.</a:t>
            </a:r>
          </a:p>
          <a:p>
            <a:pPr marL="171450" indent="-171450">
              <a:buFontTx/>
              <a:buChar char="-"/>
            </a:pP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Tx/>
              <a:buChar char="-"/>
            </a:pP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Tx/>
              <a:buChar char="-"/>
            </a:pPr>
            <a:endParaRPr lang="en-U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85952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 err="1"/>
              <a:t>Curiosiandoooo</a:t>
            </a:r>
            <a:r>
              <a:rPr lang="es-CO" dirty="0"/>
              <a:t>. Powell dice que uno puede </a:t>
            </a:r>
            <a:r>
              <a:rPr lang="es-CO" dirty="0" err="1"/>
              <a:t>redcir</a:t>
            </a:r>
            <a:r>
              <a:rPr lang="es-CO" dirty="0"/>
              <a:t> todas estas técnicas a un arquetipo de problema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76744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Nos queremos enfocar en la incertidumbre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0670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Ya no se trabaja con todas las políticas. Se parametrizan las políticas y se optimiza sobre estas políticas.</a:t>
            </a:r>
          </a:p>
          <a:p>
            <a:r>
              <a:rPr lang="es-CO" dirty="0"/>
              <a:t>W gorro es con Montecarlo</a:t>
            </a:r>
          </a:p>
          <a:p>
            <a:r>
              <a:rPr lang="es-CO" dirty="0"/>
              <a:t>Se corta un horizonte de tiempo</a:t>
            </a:r>
          </a:p>
          <a:p>
            <a:r>
              <a:rPr lang="es-CO" dirty="0"/>
              <a:t>Uno hace estimaciones de la función de valor </a:t>
            </a:r>
          </a:p>
          <a:p>
            <a:endParaRPr lang="es-CO" dirty="0"/>
          </a:p>
          <a:p>
            <a:r>
              <a:rPr lang="es-CO" dirty="0"/>
              <a:t>La idea es hacer aproximaciones en el dominio</a:t>
            </a:r>
          </a:p>
          <a:p>
            <a:endParaRPr lang="es-CO" dirty="0"/>
          </a:p>
          <a:p>
            <a:r>
              <a:rPr lang="es-CO" dirty="0"/>
              <a:t>Estudiar estas formas de aproximación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83360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err="1"/>
              <a:t>Aproximaciones</a:t>
            </a:r>
            <a:r>
              <a:rPr lang="en-US" baseline="0" dirty="0"/>
              <a:t> </a:t>
            </a:r>
            <a:r>
              <a:rPr lang="en-US" baseline="0" dirty="0" err="1"/>
              <a:t>en</a:t>
            </a:r>
            <a:r>
              <a:rPr lang="en-US" baseline="0" dirty="0"/>
              <a:t> </a:t>
            </a:r>
            <a:r>
              <a:rPr lang="en-US" baseline="0" dirty="0" err="1"/>
              <a:t>políticas</a:t>
            </a:r>
            <a:r>
              <a:rPr lang="en-US" baseline="0" dirty="0"/>
              <a:t>, </a:t>
            </a:r>
            <a:r>
              <a:rPr lang="en-US" baseline="0" dirty="0" err="1"/>
              <a:t>tiempo</a:t>
            </a:r>
            <a:r>
              <a:rPr lang="en-US" baseline="0" dirty="0"/>
              <a:t>, </a:t>
            </a:r>
            <a:r>
              <a:rPr lang="en-US" baseline="0" dirty="0" err="1"/>
              <a:t>espacio</a:t>
            </a:r>
            <a:r>
              <a:rPr lang="en-US" baseline="0" dirty="0"/>
              <a:t> de valor</a:t>
            </a:r>
          </a:p>
          <a:p>
            <a:r>
              <a:rPr lang="en-US" baseline="0" dirty="0" err="1"/>
              <a:t>Modelos</a:t>
            </a:r>
            <a:r>
              <a:rPr lang="en-US" baseline="0" dirty="0"/>
              <a:t> </a:t>
            </a:r>
            <a:r>
              <a:rPr lang="en-US" baseline="0" dirty="0" err="1"/>
              <a:t>predictivos</a:t>
            </a:r>
            <a:r>
              <a:rPr lang="en-US" baseline="0" dirty="0"/>
              <a:t> y </a:t>
            </a:r>
            <a:r>
              <a:rPr lang="en-US" baseline="0" dirty="0" err="1"/>
              <a:t>prescriptivos</a:t>
            </a:r>
            <a:endParaRPr lang="en-US" baseline="0" dirty="0"/>
          </a:p>
          <a:p>
            <a:r>
              <a:rPr lang="en-US" baseline="0" dirty="0"/>
              <a:t>O una forma de </a:t>
            </a:r>
            <a:r>
              <a:rPr lang="en-US" baseline="0" dirty="0" err="1"/>
              <a:t>intergar</a:t>
            </a:r>
            <a:r>
              <a:rPr lang="en-US" baseline="0" dirty="0"/>
              <a:t> </a:t>
            </a:r>
            <a:r>
              <a:rPr lang="en-US" baseline="0" dirty="0" err="1"/>
              <a:t>todo</a:t>
            </a:r>
            <a:r>
              <a:rPr lang="en-US" baseline="0" dirty="0"/>
              <a:t> lo que </a:t>
            </a:r>
            <a:r>
              <a:rPr lang="en-US" baseline="0" dirty="0" err="1"/>
              <a:t>enmarca</a:t>
            </a:r>
            <a:r>
              <a:rPr lang="en-US" baseline="0" dirty="0"/>
              <a:t> Powell</a:t>
            </a:r>
          </a:p>
          <a:p>
            <a:endParaRPr lang="en-US" baseline="0" dirty="0"/>
          </a:p>
          <a:p>
            <a:r>
              <a:rPr lang="en-US" baseline="0" dirty="0"/>
              <a:t>Casos de </a:t>
            </a:r>
            <a:r>
              <a:rPr lang="en-US" baseline="0" dirty="0" err="1"/>
              <a:t>aplicación</a:t>
            </a:r>
            <a:r>
              <a:rPr lang="en-US" baseline="0" dirty="0"/>
              <a:t> y </a:t>
            </a:r>
            <a:r>
              <a:rPr lang="en-US" baseline="0" dirty="0" err="1"/>
              <a:t>técnicas</a:t>
            </a:r>
            <a:r>
              <a:rPr lang="en-US" baseline="0" dirty="0"/>
              <a:t> </a:t>
            </a:r>
            <a:r>
              <a:rPr lang="en-US" baseline="0" dirty="0" err="1"/>
              <a:t>más</a:t>
            </a:r>
            <a:r>
              <a:rPr lang="en-US" baseline="0" dirty="0"/>
              <a:t> </a:t>
            </a:r>
            <a:r>
              <a:rPr lang="en-US" baseline="0" dirty="0" err="1"/>
              <a:t>avanzadas</a:t>
            </a:r>
            <a:endParaRPr lang="en-US" baseline="0" dirty="0"/>
          </a:p>
          <a:p>
            <a:r>
              <a:rPr lang="en-US" baseline="0" dirty="0" err="1"/>
              <a:t>Aplicación</a:t>
            </a:r>
            <a:r>
              <a:rPr lang="en-US" baseline="0" dirty="0"/>
              <a:t>: </a:t>
            </a:r>
            <a:r>
              <a:rPr lang="en-US" baseline="0" dirty="0" err="1"/>
              <a:t>Interés</a:t>
            </a:r>
            <a:r>
              <a:rPr lang="en-US" baseline="0" dirty="0"/>
              <a:t> </a:t>
            </a:r>
            <a:r>
              <a:rPr lang="en-US" baseline="0" dirty="0" err="1"/>
              <a:t>en</a:t>
            </a:r>
            <a:r>
              <a:rPr lang="en-US" baseline="0" dirty="0"/>
              <a:t> </a:t>
            </a:r>
            <a:r>
              <a:rPr lang="en-US" baseline="0" dirty="0" err="1"/>
              <a:t>problemas</a:t>
            </a:r>
            <a:r>
              <a:rPr lang="en-US" baseline="0" dirty="0"/>
              <a:t> de </a:t>
            </a:r>
            <a:r>
              <a:rPr lang="en-US" baseline="0" dirty="0" err="1"/>
              <a:t>riesgo</a:t>
            </a:r>
            <a:r>
              <a:rPr lang="en-US" baseline="0" dirty="0"/>
              <a:t> </a:t>
            </a:r>
          </a:p>
          <a:p>
            <a:r>
              <a:rPr lang="en-US" baseline="0" dirty="0" err="1"/>
              <a:t>Técnicas</a:t>
            </a:r>
            <a:r>
              <a:rPr lang="en-US" baseline="0" dirty="0"/>
              <a:t> </a:t>
            </a:r>
            <a:r>
              <a:rPr lang="en-US" baseline="0" dirty="0" err="1"/>
              <a:t>avanzadas</a:t>
            </a:r>
            <a:r>
              <a:rPr lang="en-US" baseline="0" dirty="0"/>
              <a:t>:</a:t>
            </a:r>
          </a:p>
          <a:p>
            <a:r>
              <a:rPr lang="en-US" baseline="0" dirty="0"/>
              <a:t>Wishlist: PDA - RL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92331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Esto es lo que no brinda </a:t>
            </a:r>
            <a:r>
              <a:rPr lang="es-CO" dirty="0" err="1"/>
              <a:t>bertsekas</a:t>
            </a:r>
            <a:r>
              <a:rPr lang="es-CO" dirty="0"/>
              <a:t> como sus capítulos </a:t>
            </a:r>
          </a:p>
          <a:p>
            <a:endParaRPr lang="es-CO" dirty="0"/>
          </a:p>
          <a:p>
            <a:r>
              <a:rPr lang="es-CO" dirty="0"/>
              <a:t>Esta es la tarea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96857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La parte prescriptiva con todos los juguete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836155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6984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22851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47362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2375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- Introducir y explicar el modelo.</a:t>
            </a:r>
          </a:p>
          <a:p>
            <a:endParaRPr lang="es-CO" dirty="0"/>
          </a:p>
          <a:p>
            <a:r>
              <a:rPr lang="es-CO" dirty="0"/>
              <a:t>- Es importante aclarar lo que va en la función objetivo. </a:t>
            </a:r>
          </a:p>
          <a:p>
            <a:endParaRPr lang="es-CO" dirty="0"/>
          </a:p>
          <a:p>
            <a:r>
              <a:rPr lang="es-CO" dirty="0"/>
              <a:t>- Echar tierra. No está el componente del juego, el principal no tiene injerencia sobre el mantenimiento; lo máximo que puede hacer el </a:t>
            </a:r>
            <a:r>
              <a:rPr lang="es-CO" dirty="0" err="1"/>
              <a:t>ppal</a:t>
            </a:r>
            <a:r>
              <a:rPr lang="es-CO" dirty="0"/>
              <a:t> es poner las reglas del juego, como reacciona el agente y entonces se refinan las reglas del juego. Por eso no es multiobjetivo</a:t>
            </a:r>
          </a:p>
          <a:p>
            <a:endParaRPr lang="es-CO" dirty="0"/>
          </a:p>
          <a:p>
            <a:pPr marL="171450" indent="-171450">
              <a:buFontTx/>
              <a:buChar char="-"/>
            </a:pPr>
            <a:r>
              <a:rPr lang="es-CO" dirty="0"/>
              <a:t>Podría llegarse a pensar como multiobjetivo/multicriterio PERO en realidad lo que se tienen son dos actores que actúan en respuesta a las decisiones del otro (si el agente incumple el principal lo multa -&gt; el agente sabiendo que lo pueden multar cambia su decisión) -&gt; decisiones secuenciales -&gt; teoría de juegos.</a:t>
            </a:r>
          </a:p>
          <a:p>
            <a:pPr marL="171450" indent="-171450">
              <a:buFontTx/>
              <a:buChar char="-"/>
            </a:pPr>
            <a:endParaRPr lang="es-CO" dirty="0"/>
          </a:p>
          <a:p>
            <a:pPr marL="171450" indent="-171450">
              <a:buFontTx/>
              <a:buChar char="-"/>
            </a:pPr>
            <a:r>
              <a:rPr lang="es-CO" dirty="0"/>
              <a:t>Para cual FO se va a correr?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87585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34658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37183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524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Me toca hacer inspecciones. Le puedo dar incentivos. Le puedo quitar la restricción.</a:t>
            </a:r>
          </a:p>
          <a:p>
            <a:r>
              <a:rPr lang="es-CO" dirty="0" err="1"/>
              <a:t>Gomez</a:t>
            </a:r>
            <a:r>
              <a:rPr lang="es-CO" dirty="0"/>
              <a:t> nos da la intuición. Pero cómo diseñamos este sistema? A lo que queremos llegar es como llegamos a definir las reglas del primero para tener las mejores respuestas segundo</a:t>
            </a:r>
          </a:p>
          <a:p>
            <a:endParaRPr lang="es-CO" dirty="0"/>
          </a:p>
          <a:p>
            <a:r>
              <a:rPr lang="es-CO" dirty="0"/>
              <a:t>Visión del abogado -&gt; reglas y restricciones</a:t>
            </a:r>
          </a:p>
          <a:p>
            <a:r>
              <a:rPr lang="es-CO" dirty="0"/>
              <a:t>Visión del Economista -&gt; Incentivos para cambiar el comportamiento</a:t>
            </a:r>
          </a:p>
          <a:p>
            <a:r>
              <a:rPr lang="es-CO" dirty="0"/>
              <a:t>Corridas unilaterale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0066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El modelo es un MIP. Hay variables enteras y hace el problema mucho más difícil de resolver. En mi tesis de pregrado </a:t>
            </a:r>
            <a:r>
              <a:rPr lang="es-CO" dirty="0" err="1"/>
              <a:t>etc</a:t>
            </a:r>
            <a:r>
              <a:rPr lang="es-CO" dirty="0"/>
              <a:t>…</a:t>
            </a:r>
          </a:p>
          <a:p>
            <a:r>
              <a:rPr lang="es-CO" dirty="0"/>
              <a:t>Explicar los colores. Qué es lo más importante de un problema </a:t>
            </a:r>
            <a:r>
              <a:rPr lang="es-CO" dirty="0" err="1"/>
              <a:t>binivel</a:t>
            </a:r>
            <a:r>
              <a:rPr lang="es-CO" dirty="0"/>
              <a:t>: Las decisiones del principal afectan la región factible del seguidor y las </a:t>
            </a:r>
            <a:r>
              <a:rPr lang="es-CO" dirty="0" err="1"/>
              <a:t>deciiones</a:t>
            </a:r>
            <a:r>
              <a:rPr lang="es-CO" dirty="0"/>
              <a:t> del seguidor afectan la FO del principal</a:t>
            </a:r>
          </a:p>
          <a:p>
            <a:endParaRPr lang="es-CO" dirty="0"/>
          </a:p>
          <a:p>
            <a:r>
              <a:rPr lang="es-CO" dirty="0"/>
              <a:t>Extrapolar al PPP: x es inspección y multas. Y es mantenimiento y como se haga el mantenimiento afecta el beneficio final.</a:t>
            </a:r>
          </a:p>
          <a:p>
            <a:endParaRPr lang="es-CO" dirty="0"/>
          </a:p>
          <a:p>
            <a:r>
              <a:rPr lang="es-CO" dirty="0"/>
              <a:t>Nos pusimos ese reto y en el estado del arte apenas son problemas que se están resolviendo.</a:t>
            </a:r>
          </a:p>
          <a:p>
            <a:endParaRPr lang="es-CO" dirty="0"/>
          </a:p>
          <a:p>
            <a:endParaRPr lang="es-CO" dirty="0"/>
          </a:p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380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s-CO" dirty="0"/>
              <a:t>No hay mucha literatura de </a:t>
            </a:r>
            <a:r>
              <a:rPr lang="es-CO" dirty="0" err="1"/>
              <a:t>binivel</a:t>
            </a:r>
            <a:r>
              <a:rPr lang="es-CO" dirty="0"/>
              <a:t> enteros</a:t>
            </a:r>
          </a:p>
          <a:p>
            <a:pPr marL="171450" indent="-171450">
              <a:buFontTx/>
              <a:buChar char="-"/>
            </a:pPr>
            <a:r>
              <a:rPr lang="es-CO" dirty="0"/>
              <a:t>Literatura relativamente reciente</a:t>
            </a:r>
          </a:p>
          <a:p>
            <a:pPr marL="171450" indent="-171450">
              <a:buFontTx/>
              <a:buChar char="-"/>
            </a:pPr>
            <a:r>
              <a:rPr lang="es-CO" dirty="0"/>
              <a:t>Contribuciones recientes todavía tienen muchos retos. Se resuelven </a:t>
            </a:r>
            <a:r>
              <a:rPr lang="es-CO" dirty="0" err="1"/>
              <a:t>problameas</a:t>
            </a:r>
            <a:r>
              <a:rPr lang="es-CO" dirty="0"/>
              <a:t> relativamente pequeños porque el problema es no convexo y las búsquedas terminan siendo muy exhaustivas.</a:t>
            </a:r>
          </a:p>
          <a:p>
            <a:pPr marL="171450" indent="-171450">
              <a:buFontTx/>
              <a:buChar char="-"/>
            </a:pPr>
            <a:r>
              <a:rPr lang="es-CO" dirty="0"/>
              <a:t>El objetivo de mi tesis era encontrar el mejor algoritmo para resolver MIBPLS y </a:t>
            </a:r>
            <a:r>
              <a:rPr lang="es-CO" dirty="0" err="1"/>
              <a:t>enchufaro</a:t>
            </a:r>
            <a:r>
              <a:rPr lang="es-CO" dirty="0"/>
              <a:t> a PPP. Tenemos resultados preliminares del PPP. Resolvemos todas nuestras instancias y seguimos luchando con el PPP por problemas de escala</a:t>
            </a:r>
          </a:p>
          <a:p>
            <a:pPr marL="171450" indent="-171450">
              <a:buFontTx/>
              <a:buChar char="-"/>
            </a:pPr>
            <a:r>
              <a:rPr lang="es-CO" dirty="0" err="1"/>
              <a:t>Fischetti</a:t>
            </a:r>
            <a:r>
              <a:rPr lang="es-CO" dirty="0"/>
              <a:t> -&gt; lo más evolucionado. Comenzamos en el 2019 con un </a:t>
            </a:r>
            <a:r>
              <a:rPr lang="es-CO" dirty="0" err="1"/>
              <a:t>paper</a:t>
            </a:r>
            <a:r>
              <a:rPr lang="es-CO" dirty="0"/>
              <a:t> del 2017 para entenderlo y aplicarlo a las </a:t>
            </a:r>
            <a:r>
              <a:rPr lang="es-CO" dirty="0" err="1"/>
              <a:t>PPPs</a:t>
            </a:r>
            <a:r>
              <a:rPr lang="es-CO" dirty="0"/>
              <a:t> (hoja de ruta para la tesis).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6640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s-CO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EE9A5B-17D6-4505-97CF-AD8F8FA90901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2212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6 Rectángulo redondeado"/>
          <p:cNvSpPr/>
          <p:nvPr/>
        </p:nvSpPr>
        <p:spPr>
          <a:xfrm>
            <a:off x="614363" y="1176338"/>
            <a:ext cx="8556625" cy="2232025"/>
          </a:xfrm>
          <a:prstGeom prst="roundRect">
            <a:avLst/>
          </a:prstGeom>
          <a:solidFill>
            <a:srgbClr val="F6F000"/>
          </a:solidFill>
          <a:ln>
            <a:solidFill>
              <a:srgbClr val="F6F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 sz="20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788" y="96838"/>
            <a:ext cx="1776412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8 CuadroTexto"/>
          <p:cNvSpPr txBox="1"/>
          <p:nvPr/>
        </p:nvSpPr>
        <p:spPr>
          <a:xfrm>
            <a:off x="-12700" y="6602413"/>
            <a:ext cx="2428875" cy="254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CO" sz="1000" u="sng" dirty="0">
                <a:solidFill>
                  <a:prstClr val="white">
                    <a:lumMod val="50000"/>
                  </a:prstClr>
                </a:solidFill>
                <a:latin typeface="Courier New" pitchFamily="49" charset="0"/>
                <a:cs typeface="Courier New" pitchFamily="49" charset="0"/>
              </a:rPr>
              <a:t>http://copa.uniandes.edu.co/</a:t>
            </a:r>
          </a:p>
        </p:txBody>
      </p:sp>
      <p:pic>
        <p:nvPicPr>
          <p:cNvPr id="7" name="Picture 25"/>
          <p:cNvPicPr>
            <a:picLocks noChangeAspect="1" noChangeArrowheads="1"/>
          </p:cNvPicPr>
          <p:nvPr/>
        </p:nvPicPr>
        <p:blipFill>
          <a:blip r:embed="rId3" cstate="print"/>
          <a:srcRect l="17819" t="14748" r="27895" b="21956"/>
          <a:stretch>
            <a:fillRect/>
          </a:stretch>
        </p:blipFill>
        <p:spPr bwMode="auto">
          <a:xfrm>
            <a:off x="8594725" y="141288"/>
            <a:ext cx="346075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766175" y="1166813"/>
            <a:ext cx="412750" cy="226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9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10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11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CD83296-8A48-44FF-9C38-2284A8E202C6}" type="slidenum">
              <a:rPr lang="en-US" altLang="en-US" sz="2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4240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CD83296-8A48-44FF-9C38-2284A8E202C6}" type="slidenum">
              <a:rPr lang="en-US" altLang="en-US" sz="2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413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CD83296-8A48-44FF-9C38-2284A8E202C6}" type="slidenum">
              <a:rPr lang="en-US" altLang="en-US" sz="2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5066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79653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20236377-4038-4958-B2E2-B7A78C47D34A}" type="datetime1">
              <a:rPr lang="es-ES" smtClean="0"/>
              <a:pPr>
                <a:defRPr/>
              </a:pPr>
              <a:t>03/09/2022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AC68A174-F594-4DB3-9EE5-023A2F7AED2E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473006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D010E7AB-1D5D-4927-95FE-8FDB880F5205}" type="datetime1">
              <a:rPr lang="es-ES" smtClean="0"/>
              <a:pPr>
                <a:defRPr/>
              </a:pPr>
              <a:t>03/09/2022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D6C3097B-42D5-4427-A2E9-1076985A364B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658290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17FB8AE3-D5A0-4016-8026-53208FAAD8FD}" type="datetime1">
              <a:rPr lang="es-ES" smtClean="0"/>
              <a:pPr>
                <a:defRPr/>
              </a:pPr>
              <a:t>03/09/2022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2221DA4B-C839-4170-AB66-0C2FCD37B0AD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56292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411C8CD1-356F-4CBC-A45F-A485F91E8A64}" type="datetime1">
              <a:rPr lang="es-ES" smtClean="0"/>
              <a:pPr>
                <a:defRPr/>
              </a:pPr>
              <a:t>03/09/2022</a:t>
            </a:fld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00EC5084-78E3-469B-A2DE-CD20B68FC84F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750641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1FC36EEF-36F9-41C2-8D00-4316F2C7B503}" type="datetime1">
              <a:rPr lang="es-ES" smtClean="0"/>
              <a:pPr>
                <a:defRPr/>
              </a:pPr>
              <a:t>03/09/2022</a:t>
            </a:fld>
            <a:endParaRPr lang="es-ES" dirty="0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CFCBE108-4371-4BBF-8511-40B587A4F1AD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020714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1790EF2E-BCF1-4A51-B318-04EA5652C133}" type="datetime1">
              <a:rPr lang="es-ES" smtClean="0"/>
              <a:pPr>
                <a:defRPr/>
              </a:pPr>
              <a:t>03/09/2022</a:t>
            </a:fld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D0187C83-0496-4AE2-8EAD-9802BD3FEE52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216714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1BE197FD-0982-4E62-99D4-1C3595188116}" type="datetime1">
              <a:rPr lang="es-ES" smtClean="0"/>
              <a:pPr>
                <a:defRPr/>
              </a:pPr>
              <a:t>03/09/2022</a:t>
            </a:fld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EA06C0DD-9A98-4999-BA54-EB0858CD490A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78974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CD83296-8A48-44FF-9C38-2284A8E202C6}" type="slidenum">
              <a:rPr lang="en-US" altLang="en-US" sz="2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1128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26F49F0C-3AD3-400A-86C3-0D24A56C2860}" type="datetime1">
              <a:rPr lang="es-ES" smtClean="0"/>
              <a:pPr>
                <a:defRPr/>
              </a:pPr>
              <a:t>03/09/2022</a:t>
            </a:fld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987F38F0-D484-4A3D-A5D8-8364C03E29BF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821869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dirty="0"/>
              <a:t>Haga clic en el icono para agregar una image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8065339B-7DBB-4531-8DE7-FA73572613CA}" type="datetime1">
              <a:rPr lang="es-ES" smtClean="0"/>
              <a:pPr>
                <a:defRPr/>
              </a:pPr>
              <a:t>03/09/2022</a:t>
            </a:fld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80C6A2E6-A0CD-4ABB-A4A9-9648D193E3FA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364511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74A34ECE-2886-42FE-907E-82E18630580B}" type="datetime1">
              <a:rPr lang="es-ES" smtClean="0"/>
              <a:pPr>
                <a:defRPr/>
              </a:pPr>
              <a:t>03/09/2022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8A14A9ED-1D34-4905-94B8-DD3E9F38CC30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796792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F7953AA2-E1A4-4552-81A0-37678DD28833}" type="datetime1">
              <a:rPr lang="es-ES" smtClean="0"/>
              <a:pPr>
                <a:defRPr/>
              </a:pPr>
              <a:t>03/09/2022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0F112D93-A795-43CB-8386-9D65FE827229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801762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3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9DCD924-DC6A-42E7-9178-7B5EE2A337DB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11"/>
          </p:nvPr>
        </p:nvSpPr>
        <p:spPr>
          <a:xfrm>
            <a:off x="428629" y="1408113"/>
            <a:ext cx="8316913" cy="4913312"/>
          </a:xfrm>
        </p:spPr>
        <p:txBody>
          <a:bodyPr>
            <a:normAutofit/>
          </a:bodyPr>
          <a:lstStyle>
            <a:lvl1pPr>
              <a:defRPr sz="21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500">
                <a:latin typeface="+mj-lt"/>
              </a:defRPr>
            </a:lvl3pPr>
            <a:lvl4pPr>
              <a:defRPr sz="1350">
                <a:latin typeface="+mj-lt"/>
              </a:defRPr>
            </a:lvl4pPr>
            <a:lvl5pPr>
              <a:defRPr sz="1350">
                <a:latin typeface="+mj-lt"/>
              </a:defRPr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8668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CD83296-8A48-44FF-9C38-2284A8E202C6}" type="slidenum">
              <a:rPr lang="en-US" altLang="en-US" sz="2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350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CD83296-8A48-44FF-9C38-2284A8E202C6}" type="slidenum">
              <a:rPr lang="en-US" altLang="en-US" sz="2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410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CD83296-8A48-44FF-9C38-2284A8E202C6}" type="slidenum">
              <a:rPr lang="en-US" altLang="en-US" sz="2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9570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CD83296-8A48-44FF-9C38-2284A8E202C6}" type="slidenum">
              <a:rPr lang="en-US" altLang="en-US" sz="2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283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CD83296-8A48-44FF-9C38-2284A8E202C6}" type="slidenum">
              <a:rPr lang="en-US" altLang="en-US" sz="2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8944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CD83296-8A48-44FF-9C38-2284A8E202C6}" type="slidenum">
              <a:rPr lang="en-US" altLang="en-US" sz="2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8143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dirty="0"/>
              <a:t>Haga clic en el icono para agregar una image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altLang="en-US" sz="2000" dirty="0">
              <a:solidFill>
                <a:prstClr val="black"/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CD83296-8A48-44FF-9C38-2284A8E202C6}" type="slidenum">
              <a:rPr lang="en-US" altLang="en-US" sz="2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664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 redondeado"/>
          <p:cNvSpPr/>
          <p:nvPr/>
        </p:nvSpPr>
        <p:spPr>
          <a:xfrm>
            <a:off x="614363" y="1176338"/>
            <a:ext cx="8556625" cy="2232025"/>
          </a:xfrm>
          <a:prstGeom prst="roundRect">
            <a:avLst/>
          </a:prstGeom>
          <a:solidFill>
            <a:srgbClr val="F6F000"/>
          </a:solidFill>
          <a:ln>
            <a:solidFill>
              <a:srgbClr val="F6F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 sz="20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4275" name="Picture 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7788" y="96838"/>
            <a:ext cx="1776412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8 CuadroTexto"/>
          <p:cNvSpPr txBox="1"/>
          <p:nvPr/>
        </p:nvSpPr>
        <p:spPr>
          <a:xfrm>
            <a:off x="-12700" y="6602413"/>
            <a:ext cx="2317750" cy="2444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CO" sz="1000" u="sng" dirty="0">
                <a:solidFill>
                  <a:prstClr val="white">
                    <a:lumMod val="50000"/>
                  </a:prstClr>
                </a:solidFill>
                <a:latin typeface="Courier New" pitchFamily="49" charset="0"/>
                <a:cs typeface="Courier New" pitchFamily="49" charset="0"/>
              </a:rPr>
              <a:t>http://copa.uniandes.edu.co/</a:t>
            </a:r>
          </a:p>
        </p:txBody>
      </p:sp>
      <p:pic>
        <p:nvPicPr>
          <p:cNvPr id="54277" name="Picture 25"/>
          <p:cNvPicPr>
            <a:picLocks noChangeAspect="1" noChangeArrowheads="1"/>
          </p:cNvPicPr>
          <p:nvPr/>
        </p:nvPicPr>
        <p:blipFill>
          <a:blip r:embed="rId15" cstate="print"/>
          <a:srcRect l="17819" t="14748" r="27895" b="21956"/>
          <a:stretch>
            <a:fillRect/>
          </a:stretch>
        </p:blipFill>
        <p:spPr bwMode="auto">
          <a:xfrm>
            <a:off x="8594725" y="141288"/>
            <a:ext cx="346075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278" name="Picture 2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8766175" y="1166813"/>
            <a:ext cx="412750" cy="226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92262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34823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3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/>
        </p:nvSpPr>
        <p:spPr>
          <a:xfrm>
            <a:off x="8836025" y="571500"/>
            <a:ext cx="292100" cy="68421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 sz="2000" dirty="0">
              <a:solidFill>
                <a:prstClr val="white"/>
              </a:solidFill>
            </a:endParaRPr>
          </a:p>
        </p:txBody>
      </p:sp>
      <p:cxnSp>
        <p:nvCxnSpPr>
          <p:cNvPr id="8" name="7 Conector recto"/>
          <p:cNvCxnSpPr/>
          <p:nvPr/>
        </p:nvCxnSpPr>
        <p:spPr>
          <a:xfrm rot="5400000">
            <a:off x="-2478087" y="3740150"/>
            <a:ext cx="5148262" cy="1588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/>
        </p:nvCxnSpPr>
        <p:spPr>
          <a:xfrm rot="10800000">
            <a:off x="93663" y="6313488"/>
            <a:ext cx="9061450" cy="1587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CuadroTexto"/>
          <p:cNvSpPr txBox="1"/>
          <p:nvPr/>
        </p:nvSpPr>
        <p:spPr>
          <a:xfrm>
            <a:off x="-12700" y="6602413"/>
            <a:ext cx="2317750" cy="2444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CO" sz="1000" u="sng" dirty="0">
                <a:solidFill>
                  <a:prstClr val="white">
                    <a:lumMod val="50000"/>
                  </a:prstClr>
                </a:solidFill>
                <a:latin typeface="Courier New" pitchFamily="49" charset="0"/>
                <a:cs typeface="Courier New" pitchFamily="49" charset="0"/>
              </a:rPr>
              <a:t>http://copa.uniandes.edu.co/</a:t>
            </a:r>
          </a:p>
        </p:txBody>
      </p:sp>
      <p:pic>
        <p:nvPicPr>
          <p:cNvPr id="37894" name="Picture 39" descr="Universidad de los Andes"/>
          <p:cNvPicPr>
            <a:picLocks noChangeAspect="1" noChangeArrowheads="1"/>
          </p:cNvPicPr>
          <p:nvPr/>
        </p:nvPicPr>
        <p:blipFill>
          <a:blip r:embed="rId16" cstate="print"/>
          <a:srcRect l="6796" t="30070" r="4892" b="23622"/>
          <a:stretch>
            <a:fillRect/>
          </a:stretch>
        </p:blipFill>
        <p:spPr bwMode="auto">
          <a:xfrm>
            <a:off x="49213" y="42863"/>
            <a:ext cx="1420812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11 Recortar y redondear rectángulo de esquina sencilla"/>
          <p:cNvSpPr/>
          <p:nvPr/>
        </p:nvSpPr>
        <p:spPr>
          <a:xfrm>
            <a:off x="101600" y="574675"/>
            <a:ext cx="8709025" cy="684213"/>
          </a:xfrm>
          <a:prstGeom prst="snipRoundRect">
            <a:avLst>
              <a:gd name="adj1" fmla="val 16667"/>
              <a:gd name="adj2" fmla="val 0"/>
            </a:avLst>
          </a:prstGeom>
          <a:solidFill>
            <a:srgbClr val="F6F000"/>
          </a:solidFill>
          <a:ln>
            <a:solidFill>
              <a:srgbClr val="F6F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 sz="20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622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7010400" y="649288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9DCD924-DC6A-42E7-9178-7B5EE2A337DB}" type="slidenum">
              <a:rPr lang="es-E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1" y="0"/>
            <a:ext cx="9172574" cy="1169276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 sz="1350">
              <a:solidFill>
                <a:prstClr val="white"/>
              </a:solidFill>
            </a:endParaRPr>
          </a:p>
        </p:txBody>
      </p:sp>
      <p:sp>
        <p:nvSpPr>
          <p:cNvPr id="15" name="9 CuadroTexto"/>
          <p:cNvSpPr txBox="1"/>
          <p:nvPr userDrawn="1"/>
        </p:nvSpPr>
        <p:spPr>
          <a:xfrm>
            <a:off x="-12701" y="6602420"/>
            <a:ext cx="1754327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s-CO" sz="750" u="sng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http://copa.uniandes.edu.co/</a:t>
            </a: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355604" y="188686"/>
            <a:ext cx="7627495" cy="8469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49" y="1589314"/>
            <a:ext cx="8064903" cy="47698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pic>
        <p:nvPicPr>
          <p:cNvPr id="10" name="Picture 2" descr="Related imag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600" y="-33346"/>
            <a:ext cx="1097533" cy="690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5"/>
          <p:cNvPicPr>
            <a:picLocks noChangeAspect="1" noChangeArrowheads="1"/>
          </p:cNvPicPr>
          <p:nvPr userDrawn="1"/>
        </p:nvPicPr>
        <p:blipFill>
          <a:blip r:embed="rId4" cstate="print"/>
          <a:srcRect l="17819" t="14748" r="27895" b="21956"/>
          <a:stretch>
            <a:fillRect/>
          </a:stretch>
        </p:blipFill>
        <p:spPr bwMode="auto">
          <a:xfrm>
            <a:off x="8601008" y="656881"/>
            <a:ext cx="185088" cy="349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19459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7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54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53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709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82" indent="-34288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3" indent="-28573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4" Type="http://schemas.openxmlformats.org/officeDocument/2006/relationships/comments" Target="../comments/commen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61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3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18" Type="http://schemas.openxmlformats.org/officeDocument/2006/relationships/image" Target="../media/image37.png"/><Relationship Id="rId3" Type="http://schemas.openxmlformats.org/officeDocument/2006/relationships/image" Target="../media/image191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19" Type="http://schemas.openxmlformats.org/officeDocument/2006/relationships/image" Target="../media/image38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62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21.png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38.png"/><Relationship Id="rId3" Type="http://schemas.openxmlformats.org/officeDocument/2006/relationships/image" Target="../media/image20.png"/><Relationship Id="rId7" Type="http://schemas.openxmlformats.org/officeDocument/2006/relationships/image" Target="../media/image47.png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6.png"/><Relationship Id="rId11" Type="http://schemas.openxmlformats.org/officeDocument/2006/relationships/image" Target="../media/image36.png"/><Relationship Id="rId5" Type="http://schemas.openxmlformats.org/officeDocument/2006/relationships/image" Target="../media/image45.png"/><Relationship Id="rId10" Type="http://schemas.openxmlformats.org/officeDocument/2006/relationships/image" Target="../media/image58.png"/><Relationship Id="rId4" Type="http://schemas.openxmlformats.org/officeDocument/2006/relationships/image" Target="../media/image44.png"/><Relationship Id="rId9" Type="http://schemas.openxmlformats.org/officeDocument/2006/relationships/image" Target="../media/image57.png"/><Relationship Id="rId1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7" Type="http://schemas.openxmlformats.org/officeDocument/2006/relationships/image" Target="../media/image14.png"/><Relationship Id="rId12" Type="http://schemas.openxmlformats.org/officeDocument/2006/relationships/image" Target="../media/image62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0.png"/><Relationship Id="rId11" Type="http://schemas.openxmlformats.org/officeDocument/2006/relationships/image" Target="../media/image60.png"/><Relationship Id="rId5" Type="http://schemas.openxmlformats.org/officeDocument/2006/relationships/image" Target="../media/image53.png"/><Relationship Id="rId15" Type="http://schemas.openxmlformats.org/officeDocument/2006/relationships/image" Target="../media/image56.png"/><Relationship Id="rId10" Type="http://schemas.openxmlformats.org/officeDocument/2006/relationships/image" Target="../media/image55.png"/><Relationship Id="rId4" Type="http://schemas.openxmlformats.org/officeDocument/2006/relationships/image" Target="../media/image110.png"/><Relationship Id="rId9" Type="http://schemas.openxmlformats.org/officeDocument/2006/relationships/image" Target="../media/image1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0.png"/><Relationship Id="rId3" Type="http://schemas.openxmlformats.org/officeDocument/2006/relationships/image" Target="../media/image170.png"/><Relationship Id="rId7" Type="http://schemas.openxmlformats.org/officeDocument/2006/relationships/image" Target="../media/image14.png"/><Relationship Id="rId12" Type="http://schemas.openxmlformats.org/officeDocument/2006/relationships/image" Target="../media/image25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3.png"/><Relationship Id="rId5" Type="http://schemas.openxmlformats.org/officeDocument/2006/relationships/image" Target="../media/image190.png"/><Relationship Id="rId10" Type="http://schemas.openxmlformats.org/officeDocument/2006/relationships/image" Target="../media/image230.png"/><Relationship Id="rId4" Type="http://schemas.openxmlformats.org/officeDocument/2006/relationships/image" Target="../media/image150.png"/><Relationship Id="rId9" Type="http://schemas.openxmlformats.org/officeDocument/2006/relationships/image" Target="../media/image22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0.png"/><Relationship Id="rId13" Type="http://schemas.openxmlformats.org/officeDocument/2006/relationships/image" Target="../media/image600.png"/><Relationship Id="rId3" Type="http://schemas.openxmlformats.org/officeDocument/2006/relationships/image" Target="../media/image170.png"/><Relationship Id="rId7" Type="http://schemas.openxmlformats.org/officeDocument/2006/relationships/image" Target="../media/image14.png"/><Relationship Id="rId12" Type="http://schemas.openxmlformats.org/officeDocument/2006/relationships/image" Target="../media/image25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90.png"/><Relationship Id="rId5" Type="http://schemas.openxmlformats.org/officeDocument/2006/relationships/image" Target="../media/image580.png"/><Relationship Id="rId10" Type="http://schemas.openxmlformats.org/officeDocument/2006/relationships/image" Target="../media/image230.png"/><Relationship Id="rId4" Type="http://schemas.openxmlformats.org/officeDocument/2006/relationships/image" Target="../media/image150.png"/><Relationship Id="rId9" Type="http://schemas.openxmlformats.org/officeDocument/2006/relationships/image" Target="../media/image280.png"/><Relationship Id="rId14" Type="http://schemas.openxmlformats.org/officeDocument/2006/relationships/image" Target="../media/image62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0.png"/><Relationship Id="rId13" Type="http://schemas.openxmlformats.org/officeDocument/2006/relationships/image" Target="../media/image580.png"/><Relationship Id="rId3" Type="http://schemas.openxmlformats.org/officeDocument/2006/relationships/image" Target="../media/image170.png"/><Relationship Id="rId12" Type="http://schemas.openxmlformats.org/officeDocument/2006/relationships/image" Target="../media/image6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Relationship Id="rId11" Type="http://schemas.openxmlformats.org/officeDocument/2006/relationships/image" Target="../media/image64.png"/><Relationship Id="rId5" Type="http://schemas.openxmlformats.org/officeDocument/2006/relationships/image" Target="../media/image14.png"/><Relationship Id="rId15" Type="http://schemas.openxmlformats.org/officeDocument/2006/relationships/image" Target="../media/image620.png"/><Relationship Id="rId10" Type="http://schemas.openxmlformats.org/officeDocument/2006/relationships/image" Target="../media/image230.png"/><Relationship Id="rId4" Type="http://schemas.openxmlformats.org/officeDocument/2006/relationships/image" Target="../media/image150.png"/><Relationship Id="rId9" Type="http://schemas.openxmlformats.org/officeDocument/2006/relationships/image" Target="../media/image630.png"/><Relationship Id="rId14" Type="http://schemas.openxmlformats.org/officeDocument/2006/relationships/image" Target="../media/image590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30.png"/><Relationship Id="rId4" Type="http://schemas.openxmlformats.org/officeDocument/2006/relationships/image" Target="../media/image52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72.png"/><Relationship Id="rId4" Type="http://schemas.openxmlformats.org/officeDocument/2006/relationships/image" Target="../media/image6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3.gif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8.xml"/><Relationship Id="rId4" Type="http://schemas.openxmlformats.org/officeDocument/2006/relationships/comments" Target="../comments/commen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8.xml"/><Relationship Id="rId4" Type="http://schemas.openxmlformats.org/officeDocument/2006/relationships/comments" Target="../comments/comment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7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8.xml"/><Relationship Id="rId6" Type="http://schemas.openxmlformats.org/officeDocument/2006/relationships/comments" Target="../comments/comment8.xml"/><Relationship Id="rId5" Type="http://schemas.openxmlformats.org/officeDocument/2006/relationships/image" Target="../media/image89.png"/><Relationship Id="rId4" Type="http://schemas.openxmlformats.org/officeDocument/2006/relationships/image" Target="../media/image88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91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9.xml"/><Relationship Id="rId3" Type="http://schemas.openxmlformats.org/officeDocument/2006/relationships/image" Target="../media/image870.png"/><Relationship Id="rId7" Type="http://schemas.openxmlformats.org/officeDocument/2006/relationships/image" Target="../media/image91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00.png"/><Relationship Id="rId5" Type="http://schemas.openxmlformats.org/officeDocument/2006/relationships/image" Target="../media/image891.png"/><Relationship Id="rId4" Type="http://schemas.openxmlformats.org/officeDocument/2006/relationships/image" Target="../media/image8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0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0.png"/><Relationship Id="rId13" Type="http://schemas.openxmlformats.org/officeDocument/2006/relationships/image" Target="../media/image410.png"/><Relationship Id="rId3" Type="http://schemas.openxmlformats.org/officeDocument/2006/relationships/image" Target="../media/image180.png"/><Relationship Id="rId12" Type="http://schemas.openxmlformats.org/officeDocument/2006/relationships/image" Target="../media/image400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8.xml"/><Relationship Id="rId11" Type="http://schemas.openxmlformats.org/officeDocument/2006/relationships/image" Target="../media/image380.png"/><Relationship Id="rId5" Type="http://schemas.openxmlformats.org/officeDocument/2006/relationships/image" Target="../media/image350.png"/><Relationship Id="rId15" Type="http://schemas.openxmlformats.org/officeDocument/2006/relationships/image" Target="../media/image430.png"/><Relationship Id="rId10" Type="http://schemas.openxmlformats.org/officeDocument/2006/relationships/image" Target="../media/image371.png"/><Relationship Id="rId4" Type="http://schemas.openxmlformats.org/officeDocument/2006/relationships/image" Target="../media/image290.png"/><Relationship Id="rId9" Type="http://schemas.openxmlformats.org/officeDocument/2006/relationships/image" Target="../media/image361.png"/><Relationship Id="rId14" Type="http://schemas.openxmlformats.org/officeDocument/2006/relationships/image" Target="../media/image420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0.png"/><Relationship Id="rId3" Type="http://schemas.openxmlformats.org/officeDocument/2006/relationships/image" Target="../media/image44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90.png"/><Relationship Id="rId5" Type="http://schemas.openxmlformats.org/officeDocument/2006/relationships/image" Target="../media/image880.png"/><Relationship Id="rId4" Type="http://schemas.openxmlformats.org/officeDocument/2006/relationships/image" Target="../media/image450.png"/><Relationship Id="rId9" Type="http://schemas.openxmlformats.org/officeDocument/2006/relationships/image" Target="../media/image360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0.png"/><Relationship Id="rId3" Type="http://schemas.openxmlformats.org/officeDocument/2006/relationships/image" Target="../media/image450.png"/><Relationship Id="rId7" Type="http://schemas.openxmlformats.org/officeDocument/2006/relationships/image" Target="../media/image89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70.png"/><Relationship Id="rId4" Type="http://schemas.openxmlformats.org/officeDocument/2006/relationships/image" Target="../media/image880.png"/><Relationship Id="rId9" Type="http://schemas.openxmlformats.org/officeDocument/2006/relationships/image" Target="../media/image440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comments" Target="../comments/comment1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8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8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18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0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8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0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8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0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9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7" Type="http://schemas.openxmlformats.org/officeDocument/2006/relationships/image" Target="../media/image14.png"/><Relationship Id="rId12" Type="http://schemas.openxmlformats.org/officeDocument/2006/relationships/image" Target="../media/image15.png"/><Relationship Id="rId17" Type="http://schemas.openxmlformats.org/officeDocument/2006/relationships/comments" Target="../comments/comment2.xml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0.png"/><Relationship Id="rId11" Type="http://schemas.openxmlformats.org/officeDocument/2006/relationships/image" Target="../media/image140.png"/><Relationship Id="rId5" Type="http://schemas.openxmlformats.org/officeDocument/2006/relationships/image" Target="../media/image53.png"/><Relationship Id="rId15" Type="http://schemas.openxmlformats.org/officeDocument/2006/relationships/image" Target="../media/image56.png"/><Relationship Id="rId10" Type="http://schemas.openxmlformats.org/officeDocument/2006/relationships/image" Target="../media/image55.png"/><Relationship Id="rId4" Type="http://schemas.openxmlformats.org/officeDocument/2006/relationships/image" Target="../media/image110.png"/><Relationship Id="rId9" Type="http://schemas.openxmlformats.org/officeDocument/2006/relationships/image" Target="../media/image1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7584" y="1412775"/>
            <a:ext cx="7772400" cy="1656177"/>
          </a:xfrm>
        </p:spPr>
        <p:txBody>
          <a:bodyPr/>
          <a:lstStyle/>
          <a:p>
            <a:pPr algn="l"/>
            <a:r>
              <a:rPr lang="en-US" sz="2800" dirty="0"/>
              <a:t>Addressing the Principal-Agent Problem </a:t>
            </a:r>
            <a:br>
              <a:rPr lang="en-US" sz="2800" dirty="0"/>
            </a:br>
            <a:r>
              <a:rPr lang="en-US" sz="2800" dirty="0"/>
              <a:t>in Public Private Partnerships via </a:t>
            </a:r>
            <a:br>
              <a:rPr lang="en-US" sz="2800" dirty="0"/>
            </a:br>
            <a:r>
              <a:rPr lang="en-US" sz="2800" dirty="0"/>
              <a:t>Mixed-Integer Bi-level Linear Programming</a:t>
            </a:r>
          </a:p>
        </p:txBody>
      </p:sp>
      <p:sp>
        <p:nvSpPr>
          <p:cNvPr id="6" name="1 Rectángulo"/>
          <p:cNvSpPr/>
          <p:nvPr/>
        </p:nvSpPr>
        <p:spPr>
          <a:xfrm>
            <a:off x="-324544" y="5877272"/>
            <a:ext cx="93923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1600" b="1" dirty="0">
                <a:latin typeface="Calibri" pitchFamily="34" charset="0"/>
              </a:rPr>
              <a:t>Center for Optimization and Applied Probability (COPA)</a:t>
            </a:r>
          </a:p>
          <a:p>
            <a:pPr algn="r"/>
            <a:r>
              <a:rPr lang="es-ES" sz="1600" b="1" dirty="0">
                <a:latin typeface="Calibri" pitchFamily="34" charset="0"/>
              </a:rPr>
              <a:t>Departamento de Ingeniería Industrial</a:t>
            </a:r>
          </a:p>
          <a:p>
            <a:pPr algn="r"/>
            <a:r>
              <a:rPr lang="es-ES" sz="1600" b="1" dirty="0">
                <a:latin typeface="Calibri" pitchFamily="34" charset="0"/>
              </a:rPr>
              <a:t>Universidad de los Andes (Colombia)</a:t>
            </a:r>
            <a:endParaRPr lang="es-CO" sz="1600" b="1" dirty="0">
              <a:latin typeface="Calibri" pitchFamily="34" charset="0"/>
            </a:endParaRPr>
          </a:p>
        </p:txBody>
      </p:sp>
      <p:cxnSp>
        <p:nvCxnSpPr>
          <p:cNvPr id="7" name="3 Conector recto"/>
          <p:cNvCxnSpPr/>
          <p:nvPr/>
        </p:nvCxnSpPr>
        <p:spPr>
          <a:xfrm>
            <a:off x="0" y="5877272"/>
            <a:ext cx="9144000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Rectangle 4">
            <a:extLst>
              <a:ext uri="{FF2B5EF4-FFF2-40B4-BE49-F238E27FC236}">
                <a16:creationId xmlns:a16="http://schemas.microsoft.com/office/drawing/2014/main" id="{CD0D82B2-F4C0-4631-8CCC-D90F3FC02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7784" y="3505200"/>
            <a:ext cx="6440016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prstClr val="black"/>
                </a:solidFill>
              </a:rPr>
              <a:t>Samuel Rodríguez González</a:t>
            </a:r>
            <a:endParaRPr lang="en-US" dirty="0">
              <a:solidFill>
                <a:prstClr val="black"/>
              </a:solidFill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prstClr val="black"/>
                </a:solidFill>
              </a:rPr>
              <a:t>Advisor: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b="1" dirty="0">
                <a:solidFill>
                  <a:prstClr val="black"/>
                </a:solidFill>
              </a:rPr>
              <a:t>Camilo Gómez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1072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10</a:t>
            </a:fld>
            <a:endParaRPr lang="es-E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C05FEAE-C72B-4867-A5A2-73840FA33E6D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Outline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868B41B3-E6CB-467B-8AAF-F87BC52A485F}"/>
              </a:ext>
            </a:extLst>
          </p:cNvPr>
          <p:cNvSpPr/>
          <p:nvPr/>
        </p:nvSpPr>
        <p:spPr>
          <a:xfrm>
            <a:off x="359024" y="1558031"/>
            <a:ext cx="8533456" cy="5543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 bi-level features to MIP model of PPPs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ild bi-level alternative formulation</a:t>
            </a: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-level Branch &amp; Bound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ized implementation of Branch &amp; Bound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-level Branch &amp; Cut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ized implementation of Branch &amp; Bound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ection Cuts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nt results</a:t>
            </a:r>
          </a:p>
          <a:p>
            <a:pPr marL="1257300" lvl="2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Aft>
                <a:spcPts val="0"/>
              </a:spcAft>
            </a:pPr>
            <a:endParaRPr lang="es-CO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7224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11</a:t>
            </a:fld>
            <a:endParaRPr lang="es-ES" dirty="0"/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D084119B-E013-416C-95BC-545E5250A5AC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i-level MIP model of PPPs: sets and parameters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AA4E830-7A73-4E86-88D1-82D1BDB935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160" y="1556792"/>
            <a:ext cx="7886700" cy="4305300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2FBEC450-3D48-45FB-8F5D-56C6943BA2AF}"/>
              </a:ext>
            </a:extLst>
          </p:cNvPr>
          <p:cNvSpPr/>
          <p:nvPr/>
        </p:nvSpPr>
        <p:spPr>
          <a:xfrm>
            <a:off x="2195736" y="2275428"/>
            <a:ext cx="5616624" cy="424364"/>
          </a:xfrm>
          <a:prstGeom prst="rect">
            <a:avLst/>
          </a:prstGeom>
          <a:noFill/>
          <a:ln w="63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441590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12</a:t>
            </a:fld>
            <a:endParaRPr lang="es-E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1FF6AED-51B3-40EF-9F96-6443F2EBC6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880" y="1628800"/>
            <a:ext cx="7858125" cy="395287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9B58CEC-E47E-409E-A5DE-A4EA3B52EE8E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i-level MIP model of PPPs: variables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35503164-B921-4775-B295-E03B64657E04}"/>
              </a:ext>
            </a:extLst>
          </p:cNvPr>
          <p:cNvSpPr/>
          <p:nvPr/>
        </p:nvSpPr>
        <p:spPr>
          <a:xfrm>
            <a:off x="2195736" y="1700808"/>
            <a:ext cx="5616624" cy="648072"/>
          </a:xfrm>
          <a:prstGeom prst="rect">
            <a:avLst/>
          </a:prstGeom>
          <a:noFill/>
          <a:ln w="63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539116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13</a:t>
            </a:fld>
            <a:endParaRPr lang="es-E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/>
              <p:nvPr/>
            </p:nvSpPr>
            <p:spPr>
              <a:xfrm>
                <a:off x="58821" y="1983667"/>
                <a:ext cx="581634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MX" sz="16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s</m:t>
                      </m:r>
                      <m:r>
                        <a:rPr lang="es-MX" sz="16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m:rPr>
                          <m:sty m:val="p"/>
                        </m:rPr>
                        <a:rPr lang="es-CO" sz="16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t</m:t>
                      </m:r>
                      <m:r>
                        <a:rPr lang="es-CO" sz="16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,</m:t>
                      </m:r>
                    </m:oMath>
                  </m:oMathPara>
                </a14:m>
                <a:endParaRPr lang="es-CO" sz="1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21" y="1983667"/>
                <a:ext cx="581634" cy="33855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ángulo 22">
                <a:extLst>
                  <a:ext uri="{FF2B5EF4-FFF2-40B4-BE49-F238E27FC236}">
                    <a16:creationId xmlns:a16="http://schemas.microsoft.com/office/drawing/2014/main" id="{D6F859FC-A1DA-4322-BFB6-7F3F98310DA5}"/>
                  </a:ext>
                </a:extLst>
              </p:cNvPr>
              <p:cNvSpPr/>
              <p:nvPr/>
            </p:nvSpPr>
            <p:spPr>
              <a:xfrm>
                <a:off x="2636630" y="3679850"/>
                <a:ext cx="3870740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s-CO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ϕ</m:t>
                    </m:r>
                    <m:d>
                      <m:dPr>
                        <m:ctrlPr>
                          <a:rPr lang="es-CO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s-CO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m:rPr>
                                <m:sty m:val="p"/>
                              </m:rPr>
                              <a:rPr lang="es-CO" b="0" i="0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Inspection</m:t>
                            </m:r>
                          </m:e>
                          <m:sup>
                            <m:r>
                              <a:rPr lang="es-CO" b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es-CO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:=</m:t>
                    </m:r>
                  </m:oMath>
                </a14:m>
                <a:r>
                  <a:rPr lang="es-CO" dirty="0">
                    <a:solidFill>
                      <a:schemeClr val="tx1"/>
                    </a:solidFill>
                  </a:rPr>
                  <a:t>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s-CO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s-CO">
                            <a:latin typeface="Cambria Math" panose="02040503050406030204" pitchFamily="18" charset="0"/>
                          </a:rPr>
                          <m:t>min</m:t>
                        </m:r>
                      </m:fName>
                      <m:e>
                        <m:r>
                          <m:rPr>
                            <m:sty m:val="p"/>
                          </m:rPr>
                          <a:rPr lang="es-CO" b="0" i="0" smtClean="0">
                            <a:latin typeface="Cambria Math" panose="02040503050406030204" pitchFamily="18" charset="0"/>
                          </a:rPr>
                          <m:t>Agent</m:t>
                        </m:r>
                        <m:r>
                          <a:rPr lang="es-CO" b="0" i="0" smtClean="0">
                            <a:latin typeface="Cambria Math" panose="02040503050406030204" pitchFamily="18" charset="0"/>
                          </a:rPr>
                          <m:t>′</m:t>
                        </m:r>
                        <m:r>
                          <m:rPr>
                            <m:sty m:val="p"/>
                          </m:rPr>
                          <a:rPr lang="es-CO"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a:rPr lang="es-CO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s-CO">
                            <a:latin typeface="Cambria Math" panose="02040503050406030204" pitchFamily="18" charset="0"/>
                          </a:rPr>
                          <m:t>Utility</m:t>
                        </m:r>
                        <m:r>
                          <m:rPr>
                            <m:nor/>
                          </m:rPr>
                          <a:rPr lang="es-CO" dirty="0"/>
                          <m:t> </m:t>
                        </m:r>
                      </m:e>
                    </m:func>
                  </m:oMath>
                </a14:m>
                <a:endParaRPr lang="es-CO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3" name="Rectángulo 22">
                <a:extLst>
                  <a:ext uri="{FF2B5EF4-FFF2-40B4-BE49-F238E27FC236}">
                    <a16:creationId xmlns:a16="http://schemas.microsoft.com/office/drawing/2014/main" id="{D6F859FC-A1DA-4322-BFB6-7F3F98310D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6630" y="3679850"/>
                <a:ext cx="3870740" cy="369332"/>
              </a:xfrm>
              <a:prstGeom prst="rect">
                <a:avLst/>
              </a:prstGeom>
              <a:blipFill>
                <a:blip r:embed="rId4"/>
                <a:stretch>
                  <a:fillRect l="-473" t="-10000" b="-2666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Imagen 4">
            <a:extLst>
              <a:ext uri="{FF2B5EF4-FFF2-40B4-BE49-F238E27FC236}">
                <a16:creationId xmlns:a16="http://schemas.microsoft.com/office/drawing/2014/main" id="{CA8DD080-EFAB-40C7-A3A0-EC01191874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59202" y="2458695"/>
            <a:ext cx="2676525" cy="43815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3E8EE3E6-CAE9-4F07-966B-CB2B9DFEE8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17268" y="1474623"/>
            <a:ext cx="5267325" cy="638175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993749F0-1E72-4203-B9D8-923E13D94A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6662" y="3335058"/>
            <a:ext cx="6730675" cy="110081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F42EDDCB-9E37-461C-A23A-2C3C1CF302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92514" y="4774503"/>
            <a:ext cx="1558969" cy="537954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4ECB5631-6674-4515-8E82-1978E6036A5B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i-level MIP model of PPPs: leader’s problem</a:t>
            </a:r>
          </a:p>
        </p:txBody>
      </p:sp>
    </p:spTree>
    <p:extLst>
      <p:ext uri="{BB962C8B-B14F-4D97-AF65-F5344CB8AC3E}">
        <p14:creationId xmlns:p14="http://schemas.microsoft.com/office/powerpoint/2010/main" val="8510330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14</a:t>
            </a:fld>
            <a:endParaRPr lang="es-E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ángulo 20">
                <a:extLst>
                  <a:ext uri="{FF2B5EF4-FFF2-40B4-BE49-F238E27FC236}">
                    <a16:creationId xmlns:a16="http://schemas.microsoft.com/office/drawing/2014/main" id="{D6569C83-CB27-4C61-AD5A-378A72E1FF88}"/>
                  </a:ext>
                </a:extLst>
              </p:cNvPr>
              <p:cNvSpPr/>
              <p:nvPr/>
            </p:nvSpPr>
            <p:spPr>
              <a:xfrm>
                <a:off x="184959" y="1471625"/>
                <a:ext cx="618310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Constraint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blocks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to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model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performance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(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and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service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levels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/>
              </a:p>
            </p:txBody>
          </p:sp>
        </mc:Choice>
        <mc:Fallback xmlns="">
          <p:sp>
            <p:nvSpPr>
              <p:cNvPr id="21" name="Rectángulo 20">
                <a:extLst>
                  <a:ext uri="{FF2B5EF4-FFF2-40B4-BE49-F238E27FC236}">
                    <a16:creationId xmlns:a16="http://schemas.microsoft.com/office/drawing/2014/main" id="{D6569C83-CB27-4C61-AD5A-378A72E1FF8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959" y="1471625"/>
                <a:ext cx="6183103" cy="369332"/>
              </a:xfrm>
              <a:prstGeom prst="rect">
                <a:avLst/>
              </a:prstGeom>
              <a:blipFill>
                <a:blip r:embed="rId3"/>
                <a:stretch>
                  <a:fillRect t="-9836" r="-690" b="-22951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o 3">
            <a:extLst>
              <a:ext uri="{FF2B5EF4-FFF2-40B4-BE49-F238E27FC236}">
                <a16:creationId xmlns:a16="http://schemas.microsoft.com/office/drawing/2014/main" id="{AE9127D3-2595-4B42-B7F6-CDC810E32514}"/>
              </a:ext>
            </a:extLst>
          </p:cNvPr>
          <p:cNvGrpSpPr/>
          <p:nvPr/>
        </p:nvGrpSpPr>
        <p:grpSpPr>
          <a:xfrm>
            <a:off x="1043608" y="2148956"/>
            <a:ext cx="2809875" cy="2214865"/>
            <a:chOff x="3423345" y="1713104"/>
            <a:chExt cx="2809875" cy="2214865"/>
          </a:xfrm>
        </p:grpSpPr>
        <p:pic>
          <p:nvPicPr>
            <p:cNvPr id="56" name="Imagen 55">
              <a:extLst>
                <a:ext uri="{FF2B5EF4-FFF2-40B4-BE49-F238E27FC236}">
                  <a16:creationId xmlns:a16="http://schemas.microsoft.com/office/drawing/2014/main" id="{C5952D5B-54E2-4367-B2EE-E5DE35CC49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23345" y="1713104"/>
              <a:ext cx="476250" cy="209550"/>
            </a:xfrm>
            <a:prstGeom prst="rect">
              <a:avLst/>
            </a:prstGeom>
          </p:spPr>
        </p:pic>
        <p:pic>
          <p:nvPicPr>
            <p:cNvPr id="58" name="Imagen 57">
              <a:extLst>
                <a:ext uri="{FF2B5EF4-FFF2-40B4-BE49-F238E27FC236}">
                  <a16:creationId xmlns:a16="http://schemas.microsoft.com/office/drawing/2014/main" id="{F985323E-DC38-4F7C-A61B-251DDCDB11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23345" y="1992774"/>
              <a:ext cx="533400" cy="161925"/>
            </a:xfrm>
            <a:prstGeom prst="rect">
              <a:avLst/>
            </a:prstGeom>
          </p:spPr>
        </p:pic>
        <p:pic>
          <p:nvPicPr>
            <p:cNvPr id="59" name="Imagen 58">
              <a:extLst>
                <a:ext uri="{FF2B5EF4-FFF2-40B4-BE49-F238E27FC236}">
                  <a16:creationId xmlns:a16="http://schemas.microsoft.com/office/drawing/2014/main" id="{C4317228-0F22-4044-BEAF-93E2F7BC4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23345" y="2224819"/>
              <a:ext cx="533400" cy="171450"/>
            </a:xfrm>
            <a:prstGeom prst="rect">
              <a:avLst/>
            </a:prstGeom>
          </p:spPr>
        </p:pic>
        <p:pic>
          <p:nvPicPr>
            <p:cNvPr id="54" name="Imagen 53">
              <a:extLst>
                <a:ext uri="{FF2B5EF4-FFF2-40B4-BE49-F238E27FC236}">
                  <a16:creationId xmlns:a16="http://schemas.microsoft.com/office/drawing/2014/main" id="{13DA00E9-EC2B-4FFA-8C40-0C210A719CA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423345" y="2466389"/>
              <a:ext cx="2809875" cy="209550"/>
            </a:xfrm>
            <a:prstGeom prst="rect">
              <a:avLst/>
            </a:prstGeom>
          </p:spPr>
        </p:pic>
        <p:pic>
          <p:nvPicPr>
            <p:cNvPr id="51" name="Imagen 50">
              <a:extLst>
                <a:ext uri="{FF2B5EF4-FFF2-40B4-BE49-F238E27FC236}">
                  <a16:creationId xmlns:a16="http://schemas.microsoft.com/office/drawing/2014/main" id="{1E218E9E-7F3A-407E-BF88-EF2CF50D4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423345" y="3333974"/>
              <a:ext cx="1885950" cy="257175"/>
            </a:xfrm>
            <a:prstGeom prst="rect">
              <a:avLst/>
            </a:prstGeom>
          </p:spPr>
        </p:pic>
        <p:pic>
          <p:nvPicPr>
            <p:cNvPr id="45" name="Imagen 44">
              <a:extLst>
                <a:ext uri="{FF2B5EF4-FFF2-40B4-BE49-F238E27FC236}">
                  <a16:creationId xmlns:a16="http://schemas.microsoft.com/office/drawing/2014/main" id="{99045C24-49B3-4644-A071-25EC60A70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23345" y="3661269"/>
              <a:ext cx="2076450" cy="266700"/>
            </a:xfrm>
            <a:prstGeom prst="rect">
              <a:avLst/>
            </a:prstGeom>
          </p:spPr>
        </p:pic>
        <p:pic>
          <p:nvPicPr>
            <p:cNvPr id="35" name="Imagen 34">
              <a:extLst>
                <a:ext uri="{FF2B5EF4-FFF2-40B4-BE49-F238E27FC236}">
                  <a16:creationId xmlns:a16="http://schemas.microsoft.com/office/drawing/2014/main" id="{BB33A2A1-F887-4409-80C9-7E03FE477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423345" y="2746059"/>
              <a:ext cx="1981200" cy="200025"/>
            </a:xfrm>
            <a:prstGeom prst="rect">
              <a:avLst/>
            </a:prstGeom>
          </p:spPr>
        </p:pic>
        <p:pic>
          <p:nvPicPr>
            <p:cNvPr id="33" name="Imagen 32">
              <a:extLst>
                <a:ext uri="{FF2B5EF4-FFF2-40B4-BE49-F238E27FC236}">
                  <a16:creationId xmlns:a16="http://schemas.microsoft.com/office/drawing/2014/main" id="{19604B9E-1F58-4D6E-ACB6-FA76EA13C1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423345" y="3016204"/>
              <a:ext cx="1695450" cy="247650"/>
            </a:xfrm>
            <a:prstGeom prst="rect">
              <a:avLst/>
            </a:prstGeom>
          </p:spPr>
        </p:pic>
      </p:grpSp>
      <p:grpSp>
        <p:nvGrpSpPr>
          <p:cNvPr id="5" name="Grupo 4">
            <a:extLst>
              <a:ext uri="{FF2B5EF4-FFF2-40B4-BE49-F238E27FC236}">
                <a16:creationId xmlns:a16="http://schemas.microsoft.com/office/drawing/2014/main" id="{600CD36E-C47A-478E-8B93-37B3A2C10605}"/>
              </a:ext>
            </a:extLst>
          </p:cNvPr>
          <p:cNvGrpSpPr/>
          <p:nvPr/>
        </p:nvGrpSpPr>
        <p:grpSpPr>
          <a:xfrm>
            <a:off x="5091112" y="2143547"/>
            <a:ext cx="2924175" cy="2428705"/>
            <a:chOff x="3423345" y="3656985"/>
            <a:chExt cx="2924175" cy="2428705"/>
          </a:xfrm>
        </p:grpSpPr>
        <p:pic>
          <p:nvPicPr>
            <p:cNvPr id="49" name="Imagen 48">
              <a:extLst>
                <a:ext uri="{FF2B5EF4-FFF2-40B4-BE49-F238E27FC236}">
                  <a16:creationId xmlns:a16="http://schemas.microsoft.com/office/drawing/2014/main" id="{5390D53C-9AB2-4E21-A281-CDF5142720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423345" y="3656985"/>
              <a:ext cx="2924175" cy="228600"/>
            </a:xfrm>
            <a:prstGeom prst="rect">
              <a:avLst/>
            </a:prstGeom>
          </p:spPr>
        </p:pic>
        <p:pic>
          <p:nvPicPr>
            <p:cNvPr id="41" name="Imagen 40">
              <a:extLst>
                <a:ext uri="{FF2B5EF4-FFF2-40B4-BE49-F238E27FC236}">
                  <a16:creationId xmlns:a16="http://schemas.microsoft.com/office/drawing/2014/main" id="{B3C80737-BCDE-4529-8FFE-D09CA42561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423345" y="4306334"/>
              <a:ext cx="1914525" cy="238125"/>
            </a:xfrm>
            <a:prstGeom prst="rect">
              <a:avLst/>
            </a:prstGeom>
          </p:spPr>
        </p:pic>
        <p:pic>
          <p:nvPicPr>
            <p:cNvPr id="42" name="Imagen 41">
              <a:extLst>
                <a:ext uri="{FF2B5EF4-FFF2-40B4-BE49-F238E27FC236}">
                  <a16:creationId xmlns:a16="http://schemas.microsoft.com/office/drawing/2014/main" id="{A21B5E36-BD50-4BA6-AC2E-96D6D5B3B4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423345" y="4614579"/>
              <a:ext cx="2447925" cy="247650"/>
            </a:xfrm>
            <a:prstGeom prst="rect">
              <a:avLst/>
            </a:prstGeom>
          </p:spPr>
        </p:pic>
        <p:pic>
          <p:nvPicPr>
            <p:cNvPr id="38" name="Imagen 37">
              <a:extLst>
                <a:ext uri="{FF2B5EF4-FFF2-40B4-BE49-F238E27FC236}">
                  <a16:creationId xmlns:a16="http://schemas.microsoft.com/office/drawing/2014/main" id="{3D8B9BE5-76D1-4813-932B-51F3F324C0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423345" y="3998089"/>
              <a:ext cx="1762125" cy="238125"/>
            </a:xfrm>
            <a:prstGeom prst="rect">
              <a:avLst/>
            </a:prstGeom>
          </p:spPr>
        </p:pic>
        <p:pic>
          <p:nvPicPr>
            <p:cNvPr id="30" name="Imagen 29">
              <a:extLst>
                <a:ext uri="{FF2B5EF4-FFF2-40B4-BE49-F238E27FC236}">
                  <a16:creationId xmlns:a16="http://schemas.microsoft.com/office/drawing/2014/main" id="{C0372B77-5B25-459B-80B9-163C015709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423345" y="4932349"/>
              <a:ext cx="2000250" cy="209550"/>
            </a:xfrm>
            <a:prstGeom prst="rect">
              <a:avLst/>
            </a:prstGeom>
          </p:spPr>
        </p:pic>
        <p:pic>
          <p:nvPicPr>
            <p:cNvPr id="28" name="Imagen 27">
              <a:extLst>
                <a:ext uri="{FF2B5EF4-FFF2-40B4-BE49-F238E27FC236}">
                  <a16:creationId xmlns:a16="http://schemas.microsoft.com/office/drawing/2014/main" id="{5B027047-387D-4C97-9716-2BAADBF08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423345" y="5212019"/>
              <a:ext cx="1924050" cy="247650"/>
            </a:xfrm>
            <a:prstGeom prst="rect">
              <a:avLst/>
            </a:prstGeom>
          </p:spPr>
        </p:pic>
        <p:pic>
          <p:nvPicPr>
            <p:cNvPr id="25" name="Imagen 24">
              <a:extLst>
                <a:ext uri="{FF2B5EF4-FFF2-40B4-BE49-F238E27FC236}">
                  <a16:creationId xmlns:a16="http://schemas.microsoft.com/office/drawing/2014/main" id="{8C2D6C94-6C79-44C0-91FD-B269DB4989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423345" y="5529789"/>
              <a:ext cx="1914525" cy="266700"/>
            </a:xfrm>
            <a:prstGeom prst="rect">
              <a:avLst/>
            </a:prstGeom>
          </p:spPr>
        </p:pic>
        <p:pic>
          <p:nvPicPr>
            <p:cNvPr id="15" name="Imagen 14">
              <a:extLst>
                <a:ext uri="{FF2B5EF4-FFF2-40B4-BE49-F238E27FC236}">
                  <a16:creationId xmlns:a16="http://schemas.microsoft.com/office/drawing/2014/main" id="{99765DB4-F9DD-4247-8C2C-087E06D2B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3423345" y="5866615"/>
              <a:ext cx="1619250" cy="219075"/>
            </a:xfrm>
            <a:prstGeom prst="rect">
              <a:avLst/>
            </a:prstGeom>
          </p:spPr>
        </p:pic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2A23E764-EC3C-4389-8530-D2058E781EB3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i-level MIP model of PPPs: constraints</a:t>
            </a:r>
          </a:p>
        </p:txBody>
      </p:sp>
    </p:spTree>
    <p:extLst>
      <p:ext uri="{BB962C8B-B14F-4D97-AF65-F5344CB8AC3E}">
        <p14:creationId xmlns:p14="http://schemas.microsoft.com/office/powerpoint/2010/main" val="15096241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15</a:t>
            </a:fld>
            <a:endParaRPr lang="es-E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tángulo 19">
                <a:extLst>
                  <a:ext uri="{FF2B5EF4-FFF2-40B4-BE49-F238E27FC236}">
                    <a16:creationId xmlns:a16="http://schemas.microsoft.com/office/drawing/2014/main" id="{E736105C-0903-47C5-87AF-0BC9FEC66DA6}"/>
                  </a:ext>
                </a:extLst>
              </p:cNvPr>
              <p:cNvSpPr/>
              <p:nvPr/>
            </p:nvSpPr>
            <p:spPr>
              <a:xfrm>
                <a:off x="217793" y="1844824"/>
                <a:ext cx="420820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Constraint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block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to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keep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track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of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finance</m:t>
                      </m:r>
                    </m:oMath>
                  </m:oMathPara>
                </a14:m>
                <a:endParaRPr/>
              </a:p>
            </p:txBody>
          </p:sp>
        </mc:Choice>
        <mc:Fallback xmlns="">
          <p:sp>
            <p:nvSpPr>
              <p:cNvPr id="20" name="Rectángulo 19">
                <a:extLst>
                  <a:ext uri="{FF2B5EF4-FFF2-40B4-BE49-F238E27FC236}">
                    <a16:creationId xmlns:a16="http://schemas.microsoft.com/office/drawing/2014/main" id="{E736105C-0903-47C5-87AF-0BC9FEC66DA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793" y="1844824"/>
                <a:ext cx="4208203" cy="369332"/>
              </a:xfrm>
              <a:prstGeom prst="rect">
                <a:avLst/>
              </a:prstGeom>
              <a:blipFill>
                <a:blip r:embed="rId3"/>
                <a:stretch>
                  <a:fillRect t="-11667" r="-1159" b="-25000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5" name="Imagen 24">
            <a:extLst>
              <a:ext uri="{FF2B5EF4-FFF2-40B4-BE49-F238E27FC236}">
                <a16:creationId xmlns:a16="http://schemas.microsoft.com/office/drawing/2014/main" id="{AE247B62-EC5F-4A96-AB82-22936A3E00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1158" y="2910306"/>
            <a:ext cx="1337581" cy="399278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399A082A-6633-4388-BE5D-26F219234A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1158" y="3316525"/>
            <a:ext cx="3044496" cy="439206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0712761A-9D0D-4CC5-A61C-77724FA7E3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6167" y="3762672"/>
            <a:ext cx="3304025" cy="379314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5B522D3C-8C8C-4492-BFAD-21EFEF3E06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1159" y="4164094"/>
            <a:ext cx="2255920" cy="389296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74D461DB-9B2A-4CD7-B2CA-FF6605FA216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1159" y="4643844"/>
            <a:ext cx="1647021" cy="369332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65022810-D9E8-4170-91F6-40E21BEBBEB3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i-level MIP model of PPPs: constraints</a:t>
            </a:r>
          </a:p>
        </p:txBody>
      </p:sp>
    </p:spTree>
    <p:extLst>
      <p:ext uri="{BB962C8B-B14F-4D97-AF65-F5344CB8AC3E}">
        <p14:creationId xmlns:p14="http://schemas.microsoft.com/office/powerpoint/2010/main" val="24075918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16</a:t>
            </a:fld>
            <a:endParaRPr lang="es-E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ángulo 10">
                <a:extLst>
                  <a:ext uri="{FF2B5EF4-FFF2-40B4-BE49-F238E27FC236}">
                    <a16:creationId xmlns:a16="http://schemas.microsoft.com/office/drawing/2014/main" id="{660F9924-FB10-4F1A-8821-5CD8CBAD01C3}"/>
                  </a:ext>
                </a:extLst>
              </p:cNvPr>
              <p:cNvSpPr/>
              <p:nvPr/>
            </p:nvSpPr>
            <p:spPr>
              <a:xfrm>
                <a:off x="231236" y="1556792"/>
                <a:ext cx="6717028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Performance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and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profit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thresholds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(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and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domain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of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the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>
                          <a:latin typeface="Cambria Math" panose="02040503050406030204" pitchFamily="18" charset="0"/>
                        </a:rPr>
                        <m:t>variables</m:t>
                      </m:r>
                      <m:r>
                        <a:rPr lang="en-US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1" name="Rectángulo 10">
                <a:extLst>
                  <a:ext uri="{FF2B5EF4-FFF2-40B4-BE49-F238E27FC236}">
                    <a16:creationId xmlns:a16="http://schemas.microsoft.com/office/drawing/2014/main" id="{660F9924-FB10-4F1A-8821-5CD8CBAD01C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236" y="1556792"/>
                <a:ext cx="6717028" cy="369332"/>
              </a:xfrm>
              <a:prstGeom prst="rect">
                <a:avLst/>
              </a:prstGeom>
              <a:blipFill>
                <a:blip r:embed="rId3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o 3">
            <a:extLst>
              <a:ext uri="{FF2B5EF4-FFF2-40B4-BE49-F238E27FC236}">
                <a16:creationId xmlns:a16="http://schemas.microsoft.com/office/drawing/2014/main" id="{CCE4923B-8E8A-4AA9-AAF9-963E23115CFB}"/>
              </a:ext>
            </a:extLst>
          </p:cNvPr>
          <p:cNvGrpSpPr/>
          <p:nvPr/>
        </p:nvGrpSpPr>
        <p:grpSpPr>
          <a:xfrm>
            <a:off x="2893434" y="2284978"/>
            <a:ext cx="3357133" cy="1260964"/>
            <a:chOff x="2893433" y="3199945"/>
            <a:chExt cx="3357133" cy="1260964"/>
          </a:xfrm>
        </p:grpSpPr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107A34F9-EAE0-4713-B148-A6C6129F36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93433" y="3861048"/>
              <a:ext cx="3357133" cy="224939"/>
            </a:xfrm>
            <a:prstGeom prst="rect">
              <a:avLst/>
            </a:prstGeom>
          </p:spPr>
        </p:pic>
        <p:pic>
          <p:nvPicPr>
            <p:cNvPr id="27" name="Imagen 26">
              <a:extLst>
                <a:ext uri="{FF2B5EF4-FFF2-40B4-BE49-F238E27FC236}">
                  <a16:creationId xmlns:a16="http://schemas.microsoft.com/office/drawing/2014/main" id="{C062FBC7-9BAB-4041-B90B-BD5560C7C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93433" y="3199945"/>
              <a:ext cx="3146579" cy="327525"/>
            </a:xfrm>
            <a:prstGeom prst="rect">
              <a:avLst/>
            </a:prstGeom>
          </p:spPr>
        </p:pic>
        <p:pic>
          <p:nvPicPr>
            <p:cNvPr id="29" name="Imagen 28">
              <a:extLst>
                <a:ext uri="{FF2B5EF4-FFF2-40B4-BE49-F238E27FC236}">
                  <a16:creationId xmlns:a16="http://schemas.microsoft.com/office/drawing/2014/main" id="{CC2DBFD0-D3F9-4BC7-86E6-40B97890FE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93433" y="3563835"/>
              <a:ext cx="2514924" cy="245644"/>
            </a:xfrm>
            <a:prstGeom prst="rect">
              <a:avLst/>
            </a:prstGeom>
          </p:spPr>
        </p:pic>
        <p:pic>
          <p:nvPicPr>
            <p:cNvPr id="21" name="Imagen 20">
              <a:extLst>
                <a:ext uri="{FF2B5EF4-FFF2-40B4-BE49-F238E27FC236}">
                  <a16:creationId xmlns:a16="http://schemas.microsoft.com/office/drawing/2014/main" id="{BB9EC950-50B6-4261-A6AA-7153CB55A3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93433" y="4168476"/>
              <a:ext cx="2631898" cy="292433"/>
            </a:xfrm>
            <a:prstGeom prst="rect">
              <a:avLst/>
            </a:prstGeom>
          </p:spPr>
        </p:pic>
      </p:grpSp>
      <p:grpSp>
        <p:nvGrpSpPr>
          <p:cNvPr id="30" name="Grupo 29">
            <a:extLst>
              <a:ext uri="{FF2B5EF4-FFF2-40B4-BE49-F238E27FC236}">
                <a16:creationId xmlns:a16="http://schemas.microsoft.com/office/drawing/2014/main" id="{E4D393E4-B9F8-4CB8-A3E3-6C7994B8CC3E}"/>
              </a:ext>
            </a:extLst>
          </p:cNvPr>
          <p:cNvGrpSpPr/>
          <p:nvPr/>
        </p:nvGrpSpPr>
        <p:grpSpPr>
          <a:xfrm>
            <a:off x="2949406" y="3958619"/>
            <a:ext cx="3245189" cy="2008428"/>
            <a:chOff x="6232874" y="1318274"/>
            <a:chExt cx="2768436" cy="1660482"/>
          </a:xfrm>
        </p:grpSpPr>
        <p:pic>
          <p:nvPicPr>
            <p:cNvPr id="31" name="Imagen 30">
              <a:extLst>
                <a:ext uri="{FF2B5EF4-FFF2-40B4-BE49-F238E27FC236}">
                  <a16:creationId xmlns:a16="http://schemas.microsoft.com/office/drawing/2014/main" id="{D62A3E38-81F6-4273-8826-020A6B3134F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79383" y="1927812"/>
              <a:ext cx="1952625" cy="257175"/>
            </a:xfrm>
            <a:prstGeom prst="rect">
              <a:avLst/>
            </a:prstGeom>
          </p:spPr>
        </p:pic>
        <p:pic>
          <p:nvPicPr>
            <p:cNvPr id="32" name="Imagen 31">
              <a:extLst>
                <a:ext uri="{FF2B5EF4-FFF2-40B4-BE49-F238E27FC236}">
                  <a16:creationId xmlns:a16="http://schemas.microsoft.com/office/drawing/2014/main" id="{FBFB48A6-ED91-4C08-86B8-7CB0BB1F1AB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239060" y="2206709"/>
              <a:ext cx="2762250" cy="209550"/>
            </a:xfrm>
            <a:prstGeom prst="rect">
              <a:avLst/>
            </a:prstGeom>
          </p:spPr>
        </p:pic>
        <p:pic>
          <p:nvPicPr>
            <p:cNvPr id="33" name="Imagen 32">
              <a:extLst>
                <a:ext uri="{FF2B5EF4-FFF2-40B4-BE49-F238E27FC236}">
                  <a16:creationId xmlns:a16="http://schemas.microsoft.com/office/drawing/2014/main" id="{79F08EB1-1303-437D-A35E-CC9523EB4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565082" y="2450998"/>
              <a:ext cx="2181225" cy="228600"/>
            </a:xfrm>
            <a:prstGeom prst="rect">
              <a:avLst/>
            </a:prstGeom>
          </p:spPr>
        </p:pic>
        <p:pic>
          <p:nvPicPr>
            <p:cNvPr id="34" name="Imagen 33">
              <a:extLst>
                <a:ext uri="{FF2B5EF4-FFF2-40B4-BE49-F238E27FC236}">
                  <a16:creationId xmlns:a16="http://schemas.microsoft.com/office/drawing/2014/main" id="{B3435005-9E2C-4198-835A-E0436995BC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232874" y="2683481"/>
              <a:ext cx="2743200" cy="295275"/>
            </a:xfrm>
            <a:prstGeom prst="rect">
              <a:avLst/>
            </a:prstGeom>
          </p:spPr>
        </p:pic>
        <p:sp>
          <p:nvSpPr>
            <p:cNvPr id="35" name="Rectángulo 34">
              <a:extLst>
                <a:ext uri="{FF2B5EF4-FFF2-40B4-BE49-F238E27FC236}">
                  <a16:creationId xmlns:a16="http://schemas.microsoft.com/office/drawing/2014/main" id="{989EB6FD-CA54-460F-9C22-45DDC99E3C08}"/>
                </a:ext>
              </a:extLst>
            </p:cNvPr>
            <p:cNvSpPr/>
            <p:nvPr/>
          </p:nvSpPr>
          <p:spPr>
            <a:xfrm>
              <a:off x="6661452" y="1318274"/>
              <a:ext cx="1930150" cy="27990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s-ES" sz="1600" dirty="0" err="1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rPr>
                <a:t>Domain</a:t>
              </a:r>
              <a:r>
                <a:rPr lang="es-ES" sz="1600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rPr>
                <a:t> </a:t>
              </a:r>
              <a:r>
                <a:rPr lang="es-ES" sz="1600" dirty="0" err="1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rPr>
                <a:t>of</a:t>
              </a:r>
              <a:r>
                <a:rPr lang="es-ES" sz="1600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rPr>
                <a:t> </a:t>
              </a:r>
              <a:r>
                <a:rPr lang="es-ES" sz="1600" dirty="0" err="1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rPr>
                <a:t>the</a:t>
              </a:r>
              <a:r>
                <a:rPr lang="es-ES" sz="1600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rPr>
                <a:t> variables</a:t>
              </a:r>
              <a:endParaRPr lang="es-ES" sz="16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pic>
          <p:nvPicPr>
            <p:cNvPr id="36" name="Imagen 35">
              <a:extLst>
                <a:ext uri="{FF2B5EF4-FFF2-40B4-BE49-F238E27FC236}">
                  <a16:creationId xmlns:a16="http://schemas.microsoft.com/office/drawing/2014/main" id="{8E37FDD1-2C8E-43EE-B2BB-6150D413DF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649717" y="1670637"/>
              <a:ext cx="1933575" cy="257175"/>
            </a:xfrm>
            <a:prstGeom prst="rect">
              <a:avLst/>
            </a:prstGeom>
          </p:spPr>
        </p:pic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345205A2-1EA9-4D76-BC81-BEBF61C05116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i-level MIP model of PPPs: constraints</a:t>
            </a:r>
          </a:p>
        </p:txBody>
      </p:sp>
    </p:spTree>
    <p:extLst>
      <p:ext uri="{BB962C8B-B14F-4D97-AF65-F5344CB8AC3E}">
        <p14:creationId xmlns:p14="http://schemas.microsoft.com/office/powerpoint/2010/main" val="19917800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17</a:t>
            </a:fld>
            <a:endParaRPr lang="es-ES" dirty="0"/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8ACED8D4-8602-4616-8879-D4B387F4516B}"/>
              </a:ext>
            </a:extLst>
          </p:cNvPr>
          <p:cNvGrpSpPr/>
          <p:nvPr/>
        </p:nvGrpSpPr>
        <p:grpSpPr>
          <a:xfrm>
            <a:off x="755576" y="2139685"/>
            <a:ext cx="5267325" cy="653561"/>
            <a:chOff x="1938338" y="2117405"/>
            <a:chExt cx="5267325" cy="653561"/>
          </a:xfrm>
        </p:grpSpPr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3E8EE3E6-CAE9-4F07-966B-CB2B9DFEE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38338" y="2132791"/>
              <a:ext cx="5267325" cy="638175"/>
            </a:xfrm>
            <a:prstGeom prst="rect">
              <a:avLst/>
            </a:prstGeom>
          </p:spPr>
        </p:pic>
        <p:sp>
          <p:nvSpPr>
            <p:cNvPr id="34" name="Diagrama de flujo: proceso 33">
              <a:extLst>
                <a:ext uri="{FF2B5EF4-FFF2-40B4-BE49-F238E27FC236}">
                  <a16:creationId xmlns:a16="http://schemas.microsoft.com/office/drawing/2014/main" id="{C4928DE4-097E-41DB-AF65-4A76410E3F29}"/>
                </a:ext>
              </a:extLst>
            </p:cNvPr>
            <p:cNvSpPr/>
            <p:nvPr/>
          </p:nvSpPr>
          <p:spPr>
            <a:xfrm>
              <a:off x="3563889" y="2117405"/>
              <a:ext cx="1512168" cy="586877"/>
            </a:xfrm>
            <a:prstGeom prst="flowChartProcess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85" name="Rectángulo 84">
            <a:extLst>
              <a:ext uri="{FF2B5EF4-FFF2-40B4-BE49-F238E27FC236}">
                <a16:creationId xmlns:a16="http://schemas.microsoft.com/office/drawing/2014/main" id="{083929D4-4F75-4BCB-B737-B47B5DCBAC8B}"/>
              </a:ext>
            </a:extLst>
          </p:cNvPr>
          <p:cNvSpPr/>
          <p:nvPr/>
        </p:nvSpPr>
        <p:spPr>
          <a:xfrm>
            <a:off x="2122267" y="1484784"/>
            <a:ext cx="215135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16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rincipal’s</a:t>
            </a:r>
            <a:r>
              <a:rPr lang="es-E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  <a:p>
            <a:pPr algn="ctr"/>
            <a:r>
              <a:rPr lang="es-ES" sz="16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enalty</a:t>
            </a:r>
            <a:r>
              <a:rPr lang="es-E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/</a:t>
            </a:r>
            <a:r>
              <a:rPr lang="es-ES" sz="16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eward</a:t>
            </a:r>
            <a:r>
              <a:rPr lang="es-E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16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olicy</a:t>
            </a:r>
            <a:endParaRPr lang="es-ES" sz="1600" b="0" cap="none" spc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38F8472A-E94B-4159-8A47-BB430C33C6E5}"/>
              </a:ext>
            </a:extLst>
          </p:cNvPr>
          <p:cNvGrpSpPr/>
          <p:nvPr/>
        </p:nvGrpSpPr>
        <p:grpSpPr>
          <a:xfrm>
            <a:off x="391791" y="4639693"/>
            <a:ext cx="3604145" cy="1453603"/>
            <a:chOff x="2769928" y="3847605"/>
            <a:chExt cx="3604145" cy="1453603"/>
          </a:xfrm>
        </p:grpSpPr>
        <p:sp>
          <p:nvSpPr>
            <p:cNvPr id="89" name="Diagrama de flujo: proceso 88">
              <a:extLst>
                <a:ext uri="{FF2B5EF4-FFF2-40B4-BE49-F238E27FC236}">
                  <a16:creationId xmlns:a16="http://schemas.microsoft.com/office/drawing/2014/main" id="{4532988B-8C95-4814-B416-F2C7E068A516}"/>
                </a:ext>
              </a:extLst>
            </p:cNvPr>
            <p:cNvSpPr/>
            <p:nvPr/>
          </p:nvSpPr>
          <p:spPr>
            <a:xfrm>
              <a:off x="2769928" y="3847605"/>
              <a:ext cx="3604145" cy="1453603"/>
            </a:xfrm>
            <a:prstGeom prst="flowChartProcess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pic>
          <p:nvPicPr>
            <p:cNvPr id="86" name="Imagen 85">
              <a:extLst>
                <a:ext uri="{FF2B5EF4-FFF2-40B4-BE49-F238E27FC236}">
                  <a16:creationId xmlns:a16="http://schemas.microsoft.com/office/drawing/2014/main" id="{6AC35AE6-A441-48B9-A275-6C555A52C5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93434" y="4594159"/>
              <a:ext cx="3357133" cy="224939"/>
            </a:xfrm>
            <a:prstGeom prst="rect">
              <a:avLst/>
            </a:prstGeom>
          </p:spPr>
        </p:pic>
        <p:pic>
          <p:nvPicPr>
            <p:cNvPr id="87" name="Imagen 86">
              <a:extLst>
                <a:ext uri="{FF2B5EF4-FFF2-40B4-BE49-F238E27FC236}">
                  <a16:creationId xmlns:a16="http://schemas.microsoft.com/office/drawing/2014/main" id="{4490C851-001F-46BD-8DF6-88C8C478B2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93434" y="3933056"/>
              <a:ext cx="3146579" cy="327525"/>
            </a:xfrm>
            <a:prstGeom prst="rect">
              <a:avLst/>
            </a:prstGeom>
          </p:spPr>
        </p:pic>
        <p:pic>
          <p:nvPicPr>
            <p:cNvPr id="88" name="Imagen 87">
              <a:extLst>
                <a:ext uri="{FF2B5EF4-FFF2-40B4-BE49-F238E27FC236}">
                  <a16:creationId xmlns:a16="http://schemas.microsoft.com/office/drawing/2014/main" id="{7B445F48-AF9F-47FC-AC5B-B76BB2C0A5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93434" y="4296946"/>
              <a:ext cx="2514924" cy="245644"/>
            </a:xfrm>
            <a:prstGeom prst="rect">
              <a:avLst/>
            </a:prstGeom>
          </p:spPr>
        </p:pic>
        <p:pic>
          <p:nvPicPr>
            <p:cNvPr id="143" name="Imagen 142">
              <a:extLst>
                <a:ext uri="{FF2B5EF4-FFF2-40B4-BE49-F238E27FC236}">
                  <a16:creationId xmlns:a16="http://schemas.microsoft.com/office/drawing/2014/main" id="{1122458E-79F0-49A4-A999-52A7EB1446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93434" y="4901587"/>
              <a:ext cx="2631898" cy="292433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44" name="Rectángulo 143">
                <a:extLst>
                  <a:ext uri="{FF2B5EF4-FFF2-40B4-BE49-F238E27FC236}">
                    <a16:creationId xmlns:a16="http://schemas.microsoft.com/office/drawing/2014/main" id="{F878C8F6-D48C-40FA-B2CC-AA0042C726BE}"/>
                  </a:ext>
                </a:extLst>
              </p:cNvPr>
              <p:cNvSpPr/>
              <p:nvPr/>
            </p:nvSpPr>
            <p:spPr>
              <a:xfrm>
                <a:off x="1340905" y="4256596"/>
                <a:ext cx="1705916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CO" sz="1600" b="0" i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Agent</m:t>
                      </m:r>
                      <m:r>
                        <a:rPr lang="es-CO" sz="1600" b="0" i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′</m:t>
                      </m:r>
                      <m:r>
                        <m:rPr>
                          <m:sty m:val="p"/>
                        </m:rPr>
                        <a:rPr lang="es-CO" sz="1600" b="0" i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s</m:t>
                      </m:r>
                      <m:r>
                        <a:rPr lang="es-CO" sz="1600" b="0" i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cashflow</m:t>
                      </m:r>
                    </m:oMath>
                  </m:oMathPara>
                </a14:m>
                <a:endParaRPr lang="es-CO" sz="16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144" name="Rectángulo 143">
                <a:extLst>
                  <a:ext uri="{FF2B5EF4-FFF2-40B4-BE49-F238E27FC236}">
                    <a16:creationId xmlns:a16="http://schemas.microsoft.com/office/drawing/2014/main" id="{F878C8F6-D48C-40FA-B2CC-AA0042C726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40905" y="4256596"/>
                <a:ext cx="1705916" cy="338554"/>
              </a:xfrm>
              <a:prstGeom prst="rect">
                <a:avLst/>
              </a:prstGeom>
              <a:blipFill>
                <a:blip r:embed="rId8"/>
                <a:stretch>
                  <a:fillRect b="-16071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ítulo 1">
            <a:extLst>
              <a:ext uri="{FF2B5EF4-FFF2-40B4-BE49-F238E27FC236}">
                <a16:creationId xmlns:a16="http://schemas.microsoft.com/office/drawing/2014/main" id="{A6342FEA-2A18-43DC-A17F-C69325615470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791759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i-level MIP model of PPPs: </a:t>
            </a:r>
            <a:r>
              <a:rPr lang="es-ES" sz="2400" b="1" dirty="0"/>
              <a:t>Principal-</a:t>
            </a:r>
            <a:r>
              <a:rPr lang="es-ES" sz="2400" b="1" dirty="0" err="1"/>
              <a:t>Agent</a:t>
            </a:r>
            <a:r>
              <a:rPr lang="es-ES" sz="2400" b="1" dirty="0"/>
              <a:t> </a:t>
            </a:r>
            <a:r>
              <a:rPr lang="es-ES" sz="2400" b="1" dirty="0" err="1"/>
              <a:t>relationship</a:t>
            </a:r>
            <a:endParaRPr lang="es-ES" sz="2400" b="1" dirty="0"/>
          </a:p>
          <a:p>
            <a:pPr algn="l"/>
            <a:endParaRPr lang="en-US" sz="2400" b="1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3F86F3F-FDF9-44F3-9BC9-31E3F66DA2A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10182" y="1923678"/>
            <a:ext cx="1143000" cy="85725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94CDA683-9294-4C90-98F1-FE077A70CD9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81645" y="4582591"/>
            <a:ext cx="600075" cy="847725"/>
          </a:xfrm>
          <a:prstGeom prst="rect">
            <a:avLst/>
          </a:prstGeom>
        </p:spPr>
      </p:pic>
      <p:grpSp>
        <p:nvGrpSpPr>
          <p:cNvPr id="2" name="Grupo 1">
            <a:extLst>
              <a:ext uri="{FF2B5EF4-FFF2-40B4-BE49-F238E27FC236}">
                <a16:creationId xmlns:a16="http://schemas.microsoft.com/office/drawing/2014/main" id="{C0609F2B-9BBD-4600-B9E9-B41DAA8C1B54}"/>
              </a:ext>
            </a:extLst>
          </p:cNvPr>
          <p:cNvGrpSpPr/>
          <p:nvPr/>
        </p:nvGrpSpPr>
        <p:grpSpPr>
          <a:xfrm>
            <a:off x="4339666" y="4895139"/>
            <a:ext cx="1924050" cy="873671"/>
            <a:chOff x="5362309" y="5363641"/>
            <a:chExt cx="1924050" cy="873671"/>
          </a:xfrm>
        </p:grpSpPr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CA2DAB59-0EF5-47A0-A85C-06BC01740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362309" y="5363641"/>
              <a:ext cx="1924050" cy="247650"/>
            </a:xfrm>
            <a:prstGeom prst="rect">
              <a:avLst/>
            </a:prstGeom>
          </p:spPr>
        </p:pic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BF1CA1DA-8E61-459F-9C66-6950815CB2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362309" y="5681411"/>
              <a:ext cx="1914525" cy="266700"/>
            </a:xfrm>
            <a:prstGeom prst="rect">
              <a:avLst/>
            </a:prstGeom>
          </p:spPr>
        </p:pic>
        <p:pic>
          <p:nvPicPr>
            <p:cNvPr id="25" name="Imagen 24">
              <a:extLst>
                <a:ext uri="{FF2B5EF4-FFF2-40B4-BE49-F238E27FC236}">
                  <a16:creationId xmlns:a16="http://schemas.microsoft.com/office/drawing/2014/main" id="{5F921459-9AE6-47B9-AFA6-9B01C97941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362309" y="6018237"/>
              <a:ext cx="1619250" cy="219075"/>
            </a:xfrm>
            <a:prstGeom prst="rect">
              <a:avLst/>
            </a:prstGeom>
          </p:spPr>
        </p:pic>
      </p:grpSp>
      <p:sp>
        <p:nvSpPr>
          <p:cNvPr id="10" name="Diagrama de flujo: proceso 9">
            <a:extLst>
              <a:ext uri="{FF2B5EF4-FFF2-40B4-BE49-F238E27FC236}">
                <a16:creationId xmlns:a16="http://schemas.microsoft.com/office/drawing/2014/main" id="{F9DCC94C-F703-4C80-B39E-3D7C37A1AE6B}"/>
              </a:ext>
            </a:extLst>
          </p:cNvPr>
          <p:cNvSpPr/>
          <p:nvPr/>
        </p:nvSpPr>
        <p:spPr>
          <a:xfrm>
            <a:off x="4283968" y="4843439"/>
            <a:ext cx="2133600" cy="995497"/>
          </a:xfrm>
          <a:prstGeom prst="flowChartProcess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id="{0F147FE8-76A1-447E-A671-4DA5BDA24504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2352481" y="2793246"/>
            <a:ext cx="1036758" cy="1364337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ángulo 14">
                <a:extLst>
                  <a:ext uri="{FF2B5EF4-FFF2-40B4-BE49-F238E27FC236}">
                    <a16:creationId xmlns:a16="http://schemas.microsoft.com/office/drawing/2014/main" id="{0955CAAE-7F05-4BBC-B5C0-02F31E54AFA2}"/>
                  </a:ext>
                </a:extLst>
              </p:cNvPr>
              <p:cNvSpPr/>
              <p:nvPr/>
            </p:nvSpPr>
            <p:spPr>
              <a:xfrm>
                <a:off x="4306543" y="4255476"/>
                <a:ext cx="2073516" cy="58477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s-CO" sz="1600" b="0" i="1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s-CO" sz="1600" b="0" i="0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Agent</m:t>
                          </m:r>
                        </m:e>
                        <m:sup>
                          <m:r>
                            <a:rPr lang="es-CO" sz="1600" b="0" i="0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m:rPr>
                          <m:sty m:val="p"/>
                        </m:rPr>
                        <a:rPr lang="es-CO" sz="1600" b="0" i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s</m:t>
                      </m:r>
                      <m:r>
                        <a:rPr lang="es-CO" sz="1600" b="0" i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maintenance</m:t>
                      </m:r>
                    </m:oMath>
                  </m:oMathPara>
                </a14:m>
                <a:endParaRPr lang="es-CO" sz="1600" b="0" i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CO" sz="1600" b="0" i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decisions</m:t>
                      </m:r>
                    </m:oMath>
                  </m:oMathPara>
                </a14:m>
                <a:endParaRPr lang="es-CO" sz="16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15" name="Rectángulo 14">
                <a:extLst>
                  <a:ext uri="{FF2B5EF4-FFF2-40B4-BE49-F238E27FC236}">
                    <a16:creationId xmlns:a16="http://schemas.microsoft.com/office/drawing/2014/main" id="{0955CAAE-7F05-4BBC-B5C0-02F31E54AFA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06543" y="4255476"/>
                <a:ext cx="2073516" cy="584775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Diagrama de flujo: proceso 15">
            <a:extLst>
              <a:ext uri="{FF2B5EF4-FFF2-40B4-BE49-F238E27FC236}">
                <a16:creationId xmlns:a16="http://schemas.microsoft.com/office/drawing/2014/main" id="{A6A8129F-1EAB-4B09-B676-E0561A21C3B7}"/>
              </a:ext>
            </a:extLst>
          </p:cNvPr>
          <p:cNvSpPr/>
          <p:nvPr/>
        </p:nvSpPr>
        <p:spPr>
          <a:xfrm>
            <a:off x="4776155" y="2155070"/>
            <a:ext cx="1246746" cy="586877"/>
          </a:xfrm>
          <a:prstGeom prst="flowChartProcess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37" name="Conector recto de flecha 36">
            <a:extLst>
              <a:ext uri="{FF2B5EF4-FFF2-40B4-BE49-F238E27FC236}">
                <a16:creationId xmlns:a16="http://schemas.microsoft.com/office/drawing/2014/main" id="{53124B7F-6A0C-4987-91A9-09ACF80E6C6A}"/>
              </a:ext>
            </a:extLst>
          </p:cNvPr>
          <p:cNvCxnSpPr>
            <a:cxnSpLocks/>
            <a:stCxn id="15" idx="0"/>
          </p:cNvCxnSpPr>
          <p:nvPr/>
        </p:nvCxnSpPr>
        <p:spPr>
          <a:xfrm flipV="1">
            <a:off x="5343301" y="2878758"/>
            <a:ext cx="384823" cy="1376718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ángulo 35">
            <a:extLst>
              <a:ext uri="{FF2B5EF4-FFF2-40B4-BE49-F238E27FC236}">
                <a16:creationId xmlns:a16="http://schemas.microsoft.com/office/drawing/2014/main" id="{32AE69EA-B164-4808-A9A4-3FDFB052865D}"/>
              </a:ext>
            </a:extLst>
          </p:cNvPr>
          <p:cNvSpPr/>
          <p:nvPr/>
        </p:nvSpPr>
        <p:spPr>
          <a:xfrm>
            <a:off x="4869968" y="1500169"/>
            <a:ext cx="1109599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CO" sz="16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rincipal’s</a:t>
            </a:r>
            <a:endParaRPr lang="es-CO" sz="1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es-CO" sz="16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benefit</a:t>
            </a:r>
            <a:endParaRPr lang="es-CO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7436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18</a:t>
            </a:fld>
            <a:endParaRPr lang="es-E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C05FEAE-C72B-4867-A5A2-73840FA33E6D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Outline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868B41B3-E6CB-467B-8AAF-F87BC52A485F}"/>
              </a:ext>
            </a:extLst>
          </p:cNvPr>
          <p:cNvSpPr/>
          <p:nvPr/>
        </p:nvSpPr>
        <p:spPr>
          <a:xfrm>
            <a:off x="359024" y="1558031"/>
            <a:ext cx="8533456" cy="5543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 bi-level features to MIP model of PPPs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ild bi-level alternative formulation</a:t>
            </a: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-level Branch &amp; Bound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ized implementation of Branch &amp; Bound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-level Branch &amp; Cut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ized implementation of Branch &amp; Bound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ection Cuts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nt results</a:t>
            </a:r>
          </a:p>
          <a:p>
            <a:pPr marL="1257300" lvl="2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Aft>
                <a:spcPts val="0"/>
              </a:spcAft>
            </a:pPr>
            <a:endParaRPr lang="es-CO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089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19</a:t>
            </a:fld>
            <a:endParaRPr lang="es-E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CFC7A020-53B4-4A50-AA1E-958AE3BB35BC}"/>
                  </a:ext>
                </a:extLst>
              </p:cNvPr>
              <p:cNvSpPr/>
              <p:nvPr/>
            </p:nvSpPr>
            <p:spPr>
              <a:xfrm>
                <a:off x="539995" y="1579260"/>
                <a:ext cx="87235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s-CO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s-CO" b="0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min</m:t>
                          </m:r>
                        </m:fName>
                        <m:e/>
                      </m:func>
                    </m:oMath>
                  </m:oMathPara>
                </a14:m>
                <a:endParaRPr lang="es-CO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CFC7A020-53B4-4A50-AA1E-958AE3BB35B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995" y="1579260"/>
                <a:ext cx="872355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/>
              <p:nvPr/>
            </p:nvSpPr>
            <p:spPr>
              <a:xfrm>
                <a:off x="58821" y="1983667"/>
                <a:ext cx="60087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sz="1600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𝐬</m:t>
                      </m:r>
                      <m:r>
                        <a:rPr lang="es-MX" sz="1600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s-CO" sz="1600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𝐭</m:t>
                      </m:r>
                      <m:r>
                        <a:rPr lang="es-CO" sz="1600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.,</m:t>
                      </m:r>
                    </m:oMath>
                  </m:oMathPara>
                </a14:m>
                <a:endParaRPr lang="es-CO" sz="1600" b="1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21" y="1983667"/>
                <a:ext cx="600870" cy="33855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ángulo 14">
                <a:extLst>
                  <a:ext uri="{FF2B5EF4-FFF2-40B4-BE49-F238E27FC236}">
                    <a16:creationId xmlns:a16="http://schemas.microsoft.com/office/drawing/2014/main" id="{D05CBB55-E632-45DA-BA3C-81014D0019C5}"/>
                  </a:ext>
                </a:extLst>
              </p:cNvPr>
              <p:cNvSpPr/>
              <p:nvPr/>
            </p:nvSpPr>
            <p:spPr>
              <a:xfrm>
                <a:off x="1155106" y="2453311"/>
                <a:ext cx="182780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𝐀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  <m:r>
                        <a:rPr lang="es-MX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CO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𝐁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  <m:r>
                        <a:rPr lang="es-CO" b="1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s-MX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𝐛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</m:oMath>
                  </m:oMathPara>
                </a14:m>
                <a:endParaRPr lang="es-CO" b="1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5" name="Rectángulo 14">
                <a:extLst>
                  <a:ext uri="{FF2B5EF4-FFF2-40B4-BE49-F238E27FC236}">
                    <a16:creationId xmlns:a16="http://schemas.microsoft.com/office/drawing/2014/main" id="{D05CBB55-E632-45DA-BA3C-81014D0019C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5106" y="2453311"/>
                <a:ext cx="1827808" cy="369332"/>
              </a:xfrm>
              <a:prstGeom prst="rect">
                <a:avLst/>
              </a:prstGeom>
              <a:blipFill>
                <a:blip r:embed="rId5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ángulo 18">
                <a:extLst>
                  <a:ext uri="{FF2B5EF4-FFF2-40B4-BE49-F238E27FC236}">
                    <a16:creationId xmlns:a16="http://schemas.microsoft.com/office/drawing/2014/main" id="{7DDEA1F6-497F-4D91-A638-EB6677FE212B}"/>
                  </a:ext>
                </a:extLst>
              </p:cNvPr>
              <p:cNvSpPr/>
              <p:nvPr/>
            </p:nvSpPr>
            <p:spPr>
              <a:xfrm>
                <a:off x="1499303" y="3412888"/>
                <a:ext cx="5519331" cy="406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s-CO" b="1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𝐲</m:t>
                    </m:r>
                    <m:r>
                      <a:rPr lang="es-CO" b="1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s-CO" b="1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𝐚𝐫𝐠𝐦𝐢𝐧</m:t>
                    </m:r>
                    <m:r>
                      <a:rPr lang="es-CO" b="1" i="1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{</m:t>
                    </m:r>
                    <m:sSubSup>
                      <m:sSubSupPr>
                        <m:ctrlPr>
                          <a:rPr lang="es-MX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s-CO" b="1" i="0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𝐝</m:t>
                        </m:r>
                      </m:e>
                      <m:sub>
                        <m:r>
                          <a:rPr lang="es-CO" b="1" i="0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  <m:sup>
                        <m:r>
                          <a:rPr lang="es-MX" b="1" i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𝐓</m:t>
                        </m:r>
                      </m:sup>
                    </m:sSubSup>
                    <m:r>
                      <a:rPr lang="es-MX" b="1" i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𝐲</m:t>
                    </m:r>
                    <m:r>
                      <a:rPr lang="es-CO" b="1" i="1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´ : </m:t>
                    </m:r>
                    <m:sSub>
                      <m:sSubPr>
                        <m:ctrlPr>
                          <a:rPr lang="es-CO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𝐁</m:t>
                        </m:r>
                      </m:e>
                      <m:sub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𝐲</m:t>
                    </m:r>
                    <m:r>
                      <a:rPr lang="es-CO" b="1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´+</m:t>
                    </m:r>
                    <m:sSub>
                      <m:sSubPr>
                        <m:ctrlPr>
                          <a:rPr lang="es-MX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𝐀</m:t>
                        </m:r>
                      </m:e>
                      <m:sub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𝐱</m:t>
                    </m:r>
                    <m:r>
                      <a:rPr lang="es-CO" b="1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s-CO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𝐛</m:t>
                        </m:r>
                      </m:e>
                      <m:sub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 i="1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s-CO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  <m:r>
                          <a:rPr lang="es-CO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´</m:t>
                        </m:r>
                      </m:e>
                      <m:sub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𝐣</m:t>
                        </m:r>
                      </m:sub>
                    </m:sSub>
                    <m:r>
                      <a:rPr lang="es-CO" b="1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∈</m:t>
                    </m:r>
                    <m:r>
                      <a:rPr lang="es-CO" b="1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ℤ</m:t>
                    </m:r>
                    <m:r>
                      <a:rPr lang="es-CO" b="1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s-CO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  <m:r>
                          <a:rPr lang="es-CO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´</m:t>
                        </m:r>
                      </m:e>
                      <m:sub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𝐢</m:t>
                        </m:r>
                      </m:sub>
                    </m:sSub>
                    <m:r>
                      <a:rPr lang="es-CO" b="1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≥</m:t>
                    </m:r>
                    <m:r>
                      <a:rPr lang="es-CO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es-CO" dirty="0">
                    <a:solidFill>
                      <a:srgbClr val="00B050"/>
                    </a:solidFill>
                  </a:rPr>
                  <a:t>}</a:t>
                </a:r>
                <a:endParaRPr lang="es-CO" b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9" name="Rectángulo 18">
                <a:extLst>
                  <a:ext uri="{FF2B5EF4-FFF2-40B4-BE49-F238E27FC236}">
                    <a16:creationId xmlns:a16="http://schemas.microsoft.com/office/drawing/2014/main" id="{7DDEA1F6-497F-4D91-A638-EB6677FE212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99303" y="3412888"/>
                <a:ext cx="5519331" cy="406522"/>
              </a:xfrm>
              <a:prstGeom prst="rect">
                <a:avLst/>
              </a:prstGeom>
              <a:blipFill>
                <a:blip r:embed="rId6"/>
                <a:stretch>
                  <a:fillRect t="-5970" b="-16418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Imagen 10">
            <a:extLst>
              <a:ext uri="{FF2B5EF4-FFF2-40B4-BE49-F238E27FC236}">
                <a16:creationId xmlns:a16="http://schemas.microsoft.com/office/drawing/2014/main" id="{C7EBC365-AF6F-4D30-8A2C-BF4028C44D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6537" y="1579261"/>
            <a:ext cx="376529" cy="40440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CCE45D15-84F5-4722-9227-5BF8B45AE5B6}"/>
                  </a:ext>
                </a:extLst>
              </p:cNvPr>
              <p:cNvSpPr/>
              <p:nvPr/>
            </p:nvSpPr>
            <p:spPr>
              <a:xfrm>
                <a:off x="1598496" y="4471843"/>
                <a:ext cx="1593770" cy="3952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CO" b="1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b>
                        <m:r>
                          <a:rPr lang="es-CO" b="1" i="0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𝐣</m:t>
                        </m:r>
                      </m:sub>
                    </m:sSub>
                    <m:r>
                      <a:rPr lang="es-CO" b="1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</a:rPr>
                      <m:t>∈</m:t>
                    </m:r>
                    <m:r>
                      <a:rPr lang="es-CO" b="1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</a:rPr>
                      <m:t>ℤ</m:t>
                    </m:r>
                  </m:oMath>
                </a14:m>
                <a:r>
                  <a:rPr lang="es-CO" b="1" dirty="0">
                    <a:solidFill>
                      <a:srgbClr val="0070C0"/>
                    </a:solidFill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O" b="1" i="1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b>
                        <m:r>
                          <a:rPr lang="es-CO" b="1" i="0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𝐢</m:t>
                        </m:r>
                      </m:sub>
                    </m:sSub>
                    <m:r>
                      <a:rPr lang="es-CO" b="1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</a:rPr>
                      <m:t>≥</m:t>
                    </m:r>
                    <m:r>
                      <a:rPr lang="es-CO" b="1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s-CO" b="1" dirty="0">
                    <a:solidFill>
                      <a:srgbClr val="0070C0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CCE45D15-84F5-4722-9227-5BF8B45AE5B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8496" y="4471843"/>
                <a:ext cx="1593770" cy="395236"/>
              </a:xfrm>
              <a:prstGeom prst="rect">
                <a:avLst/>
              </a:prstGeom>
              <a:blipFill>
                <a:blip r:embed="rId9"/>
                <a:stretch>
                  <a:fillRect t="-7813" r="-1908" b="-20313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D39AB9C0-1C09-4176-9F43-A8FFECD1E6E5}"/>
                  </a:ext>
                </a:extLst>
              </p:cNvPr>
              <p:cNvSpPr/>
              <p:nvPr/>
            </p:nvSpPr>
            <p:spPr>
              <a:xfrm>
                <a:off x="1155106" y="1553152"/>
                <a:ext cx="1240275" cy="4004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s-CO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𝐜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  <m:sup>
                          <m:r>
                            <a:rPr lang="es-CO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s-CO" b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CO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s-CO" b="1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𝐜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  <m:sup>
                          <m:r>
                            <a:rPr lang="es-CO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s-CO" b="1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es-CO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D39AB9C0-1C09-4176-9F43-A8FFECD1E6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5106" y="1553152"/>
                <a:ext cx="1240275" cy="400431"/>
              </a:xfrm>
              <a:prstGeom prst="rect">
                <a:avLst/>
              </a:prstGeom>
              <a:blipFill>
                <a:blip r:embed="rId10"/>
                <a:stretch>
                  <a:fillRect b="-6154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ángulo 15">
                <a:extLst>
                  <a:ext uri="{FF2B5EF4-FFF2-40B4-BE49-F238E27FC236}">
                    <a16:creationId xmlns:a16="http://schemas.microsoft.com/office/drawing/2014/main" id="{8A6C7BE3-6062-471F-819F-4616597B73E9}"/>
                  </a:ext>
                </a:extLst>
              </p:cNvPr>
              <p:cNvSpPr/>
              <p:nvPr/>
            </p:nvSpPr>
            <p:spPr>
              <a:xfrm>
                <a:off x="7092280" y="1988605"/>
                <a:ext cx="906017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sz="1600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𝐋𝐞𝐚𝐝𝐞𝐫</m:t>
                      </m:r>
                    </m:oMath>
                  </m:oMathPara>
                </a14:m>
                <a:endParaRPr lang="es-CO" sz="1600" b="1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6" name="Rectángulo 15">
                <a:extLst>
                  <a:ext uri="{FF2B5EF4-FFF2-40B4-BE49-F238E27FC236}">
                    <a16:creationId xmlns:a16="http://schemas.microsoft.com/office/drawing/2014/main" id="{8A6C7BE3-6062-471F-819F-4616597B73E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92280" y="1988605"/>
                <a:ext cx="906017" cy="338554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ángulo 16">
                <a:extLst>
                  <a:ext uri="{FF2B5EF4-FFF2-40B4-BE49-F238E27FC236}">
                    <a16:creationId xmlns:a16="http://schemas.microsoft.com/office/drawing/2014/main" id="{5753F130-125F-4032-8FCE-8B4E1C8BE7BB}"/>
                  </a:ext>
                </a:extLst>
              </p:cNvPr>
              <p:cNvSpPr/>
              <p:nvPr/>
            </p:nvSpPr>
            <p:spPr>
              <a:xfrm>
                <a:off x="7006823" y="3359615"/>
                <a:ext cx="109356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sz="1600" b="1" i="0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𝐅𝐨𝐥𝐥𝐨𝐰𝐞𝐫</m:t>
                      </m:r>
                    </m:oMath>
                  </m:oMathPara>
                </a14:m>
                <a:endParaRPr lang="es-CO" sz="1600" b="1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7" name="Rectángulo 16">
                <a:extLst>
                  <a:ext uri="{FF2B5EF4-FFF2-40B4-BE49-F238E27FC236}">
                    <a16:creationId xmlns:a16="http://schemas.microsoft.com/office/drawing/2014/main" id="{5753F130-125F-4032-8FCE-8B4E1C8BE7B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6823" y="3359615"/>
                <a:ext cx="1093569" cy="33855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72194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inha, Malo, &amp; Deb (2017)</a:t>
            </a:r>
            <a:endParaRPr lang="es-CO" sz="1100" dirty="0"/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978D60FE-363D-4103-886D-B0CFAECB285D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Canonical form of a bi-level optimization proble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7FA14C7F-9BE6-4915-8D1D-3CFAC1E61DCF}"/>
                  </a:ext>
                </a:extLst>
              </p:cNvPr>
              <p:cNvSpPr/>
              <p:nvPr/>
            </p:nvSpPr>
            <p:spPr>
              <a:xfrm>
                <a:off x="1604575" y="5012925"/>
                <a:ext cx="1527213" cy="3952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CO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b>
                          <m:r>
                            <a:rPr lang="es-CO" b="1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𝐣</m:t>
                          </m:r>
                        </m:sub>
                      </m:sSub>
                      <m:r>
                        <a:rPr lang="es-CO" b="1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∈</m:t>
                      </m:r>
                      <m:r>
                        <a:rPr lang="es-CO" b="1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ℤ</m:t>
                      </m:r>
                      <m:r>
                        <a:rPr lang="es-CO" b="1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𝐢</m:t>
                          </m:r>
                        </m:sub>
                      </m:sSub>
                      <m:r>
                        <a:rPr lang="es-CO" b="1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≥0</m:t>
                      </m:r>
                    </m:oMath>
                  </m:oMathPara>
                </a14:m>
                <a:endParaRPr lang="es-CO" b="1" i="1" dirty="0">
                  <a:solidFill>
                    <a:srgbClr val="0070C0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7FA14C7F-9BE6-4915-8D1D-3CFAC1E61DC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4575" y="5012925"/>
                <a:ext cx="1527213" cy="395236"/>
              </a:xfrm>
              <a:prstGeom prst="rect">
                <a:avLst/>
              </a:prstGeom>
              <a:blipFill>
                <a:blip r:embed="rId15"/>
                <a:stretch>
                  <a:fillRect b="-9231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7826" name="Picture 2">
            <a:extLst>
              <a:ext uri="{FF2B5EF4-FFF2-40B4-BE49-F238E27FC236}">
                <a16:creationId xmlns:a16="http://schemas.microsoft.com/office/drawing/2014/main" id="{A72F9D2C-5AE8-4CC1-B003-720C05F78E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5243" y="5554007"/>
            <a:ext cx="376171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BA1E669F-F7F4-49AF-8CE7-28BA31EC9890}"/>
              </a:ext>
            </a:extLst>
          </p:cNvPr>
          <p:cNvSpPr/>
          <p:nvPr/>
        </p:nvSpPr>
        <p:spPr>
          <a:xfrm>
            <a:off x="1598496" y="4533015"/>
            <a:ext cx="796391" cy="875146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C61C8C3D-6B5E-4AC9-980E-7E219882DFD6}"/>
              </a:ext>
            </a:extLst>
          </p:cNvPr>
          <p:cNvSpPr/>
          <p:nvPr/>
        </p:nvSpPr>
        <p:spPr>
          <a:xfrm>
            <a:off x="6204443" y="6093296"/>
            <a:ext cx="124425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ang et al.(1993)</a:t>
            </a:r>
            <a:endParaRPr lang="es-CO" sz="1100" dirty="0"/>
          </a:p>
        </p:txBody>
      </p:sp>
    </p:spTree>
    <p:extLst>
      <p:ext uri="{BB962C8B-B14F-4D97-AF65-F5344CB8AC3E}">
        <p14:creationId xmlns:p14="http://schemas.microsoft.com/office/powerpoint/2010/main" val="16731016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2</a:t>
            </a:fld>
            <a:endParaRPr lang="es-ES" dirty="0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346BBA19-B4D3-41E7-BE9D-9CCB04C61752}"/>
              </a:ext>
            </a:extLst>
          </p:cNvPr>
          <p:cNvSpPr/>
          <p:nvPr/>
        </p:nvSpPr>
        <p:spPr>
          <a:xfrm>
            <a:off x="1526134" y="5373216"/>
            <a:ext cx="6091732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ealistic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decision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roblems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are </a:t>
            </a:r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affected</a:t>
            </a:r>
            <a:endParaRPr lang="es-ES" sz="240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by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b="1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uncertainty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and </a:t>
            </a:r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by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the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b="1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actions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b="1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of</a:t>
            </a:r>
            <a:r>
              <a:rPr lang="es-ES" sz="2400" b="1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b="1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others</a:t>
            </a:r>
            <a:endParaRPr lang="es-ES" sz="2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0CF8EBDA-26B2-49CE-9F56-746EC4DD2DB7}"/>
              </a:ext>
            </a:extLst>
          </p:cNvPr>
          <p:cNvSpPr txBox="1">
            <a:spLocks/>
          </p:cNvSpPr>
          <p:nvPr/>
        </p:nvSpPr>
        <p:spPr>
          <a:xfrm>
            <a:off x="251520" y="548970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Motivation</a:t>
            </a:r>
          </a:p>
        </p:txBody>
      </p:sp>
      <p:pic>
        <p:nvPicPr>
          <p:cNvPr id="77826" name="Picture 2">
            <a:extLst>
              <a:ext uri="{FF2B5EF4-FFF2-40B4-BE49-F238E27FC236}">
                <a16:creationId xmlns:a16="http://schemas.microsoft.com/office/drawing/2014/main" id="{3973E206-33BC-4FD1-8233-329BB90497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750" y="1524000"/>
            <a:ext cx="47625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9883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20</a:t>
            </a:fld>
            <a:endParaRPr lang="es-E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CFC7A020-53B4-4A50-AA1E-958AE3BB35BC}"/>
                  </a:ext>
                </a:extLst>
              </p:cNvPr>
              <p:cNvSpPr/>
              <p:nvPr/>
            </p:nvSpPr>
            <p:spPr>
              <a:xfrm>
                <a:off x="539995" y="1579260"/>
                <a:ext cx="87235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s-CO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s-CO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min</m:t>
                          </m:r>
                        </m:fName>
                        <m:e/>
                      </m:func>
                    </m:oMath>
                  </m:oMathPara>
                </a14:m>
                <a:endParaRPr lang="es-CO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CFC7A020-53B4-4A50-AA1E-958AE3BB35B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995" y="1579260"/>
                <a:ext cx="872355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/>
              <p:nvPr/>
            </p:nvSpPr>
            <p:spPr>
              <a:xfrm>
                <a:off x="58821" y="1983667"/>
                <a:ext cx="60087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𝐬</m:t>
                      </m:r>
                      <m:r>
                        <a:rPr lang="es-MX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s-CO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𝐭</m:t>
                      </m:r>
                      <m:r>
                        <a:rPr lang="es-CO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,</m:t>
                      </m:r>
                    </m:oMath>
                  </m:oMathPara>
                </a14:m>
                <a:endParaRPr lang="es-CO" sz="16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21" y="1983667"/>
                <a:ext cx="600870" cy="33855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ángulo 14">
                <a:extLst>
                  <a:ext uri="{FF2B5EF4-FFF2-40B4-BE49-F238E27FC236}">
                    <a16:creationId xmlns:a16="http://schemas.microsoft.com/office/drawing/2014/main" id="{D05CBB55-E632-45DA-BA3C-81014D0019C5}"/>
                  </a:ext>
                </a:extLst>
              </p:cNvPr>
              <p:cNvSpPr/>
              <p:nvPr/>
            </p:nvSpPr>
            <p:spPr>
              <a:xfrm>
                <a:off x="1155106" y="2453311"/>
                <a:ext cx="182780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𝐀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  <m:r>
                        <a:rPr lang="es-MX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𝐁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s-MX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𝐛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</m:oMath>
                  </m:oMathPara>
                </a14:m>
                <a:endParaRPr lang="es-CO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ángulo 14">
                <a:extLst>
                  <a:ext uri="{FF2B5EF4-FFF2-40B4-BE49-F238E27FC236}">
                    <a16:creationId xmlns:a16="http://schemas.microsoft.com/office/drawing/2014/main" id="{D05CBB55-E632-45DA-BA3C-81014D0019C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5106" y="2453311"/>
                <a:ext cx="1827808" cy="369332"/>
              </a:xfrm>
              <a:prstGeom prst="rect">
                <a:avLst/>
              </a:prstGeom>
              <a:blipFill>
                <a:blip r:embed="rId5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ángulo 18">
                <a:extLst>
                  <a:ext uri="{FF2B5EF4-FFF2-40B4-BE49-F238E27FC236}">
                    <a16:creationId xmlns:a16="http://schemas.microsoft.com/office/drawing/2014/main" id="{7DDEA1F6-497F-4D91-A638-EB6677FE212B}"/>
                  </a:ext>
                </a:extLst>
              </p:cNvPr>
              <p:cNvSpPr/>
              <p:nvPr/>
            </p:nvSpPr>
            <p:spPr>
              <a:xfrm>
                <a:off x="1835696" y="3069100"/>
                <a:ext cx="1516056" cy="40607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s-MX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𝐝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  <m:sup>
                          <m:r>
                            <a:rPr lang="es-MX" b="1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𝐓</m:t>
                          </m:r>
                        </m:sup>
                      </m:sSubSup>
                      <m:r>
                        <a:rPr lang="es-MX" b="1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𝛟</m:t>
                      </m:r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b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9" name="Rectángulo 18">
                <a:extLst>
                  <a:ext uri="{FF2B5EF4-FFF2-40B4-BE49-F238E27FC236}">
                    <a16:creationId xmlns:a16="http://schemas.microsoft.com/office/drawing/2014/main" id="{7DDEA1F6-497F-4D91-A638-EB6677FE212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696" y="3069100"/>
                <a:ext cx="1516056" cy="406073"/>
              </a:xfrm>
              <a:prstGeom prst="rect">
                <a:avLst/>
              </a:prstGeom>
              <a:blipFill>
                <a:blip r:embed="rId6"/>
                <a:stretch>
                  <a:fillRect b="-5970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Imagen 10">
            <a:extLst>
              <a:ext uri="{FF2B5EF4-FFF2-40B4-BE49-F238E27FC236}">
                <a16:creationId xmlns:a16="http://schemas.microsoft.com/office/drawing/2014/main" id="{C7EBC365-AF6F-4D30-8A2C-BF4028C44D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22774" y="1579261"/>
            <a:ext cx="376529" cy="40440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ángulo 22">
                <a:extLst>
                  <a:ext uri="{FF2B5EF4-FFF2-40B4-BE49-F238E27FC236}">
                    <a16:creationId xmlns:a16="http://schemas.microsoft.com/office/drawing/2014/main" id="{D6F859FC-A1DA-4322-BFB6-7F3F98310DA5}"/>
                  </a:ext>
                </a:extLst>
              </p:cNvPr>
              <p:cNvSpPr/>
              <p:nvPr/>
            </p:nvSpPr>
            <p:spPr>
              <a:xfrm>
                <a:off x="1675411" y="3696676"/>
                <a:ext cx="4896277" cy="406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s-CO" b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𝛟</m:t>
                    </m:r>
                    <m:d>
                      <m:dPr>
                        <m:ctrlPr>
                          <a:rPr lang="es-CO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s-CO" b="1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s-CO" b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𝐱</m:t>
                            </m:r>
                          </m:e>
                          <m:sup>
                            <m:r>
                              <a:rPr lang="es-CO" b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es-CO" b="1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{</m:t>
                    </m:r>
                    <m:sSubSup>
                      <m:sSubSupPr>
                        <m:ctrlPr>
                          <a:rPr lang="es-CO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𝐝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  <m:sup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𝐓</m:t>
                        </m:r>
                      </m:sup>
                    </m:sSubSup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: </m:t>
                    </m:r>
                    <m:sSub>
                      <m:sSubPr>
                        <m:ctrlPr>
                          <a:rPr lang="es-CO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𝐁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𝐲</m:t>
                    </m:r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s-CO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𝐛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s-MX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𝐀</m:t>
                        </m:r>
                      </m:e>
                      <m:sub>
                        <m:r>
                          <a:rPr lang="es-CO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sSup>
                      <m:sSupPr>
                        <m:ctrlPr>
                          <a:rPr lang="es-CO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s-CO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s-CO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e>
                      <m:sub>
                        <m:r>
                          <a:rPr lang="es-CO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𝐣</m:t>
                        </m:r>
                      </m:sub>
                    </m:sSub>
                    <m:r>
                      <a:rPr lang="es-CO" b="1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∈</m:t>
                    </m:r>
                    <m:r>
                      <a:rPr lang="es-CO" b="1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ℤ</m:t>
                    </m:r>
                    <m:r>
                      <a:rPr lang="es-CO" b="1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s-CO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e>
                      <m:sub>
                        <m:r>
                          <a:rPr lang="es-CO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𝐢</m:t>
                        </m:r>
                      </m:sub>
                    </m:sSub>
                    <m:r>
                      <a:rPr lang="es-CO" b="1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≥</m:t>
                    </m:r>
                    <m:r>
                      <a:rPr lang="es-CO" b="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es-CO" dirty="0">
                    <a:solidFill>
                      <a:schemeClr val="tx1"/>
                    </a:solidFill>
                  </a:rPr>
                  <a:t>}</a:t>
                </a:r>
              </a:p>
            </p:txBody>
          </p:sp>
        </mc:Choice>
        <mc:Fallback xmlns="">
          <p:sp>
            <p:nvSpPr>
              <p:cNvPr id="23" name="Rectángulo 22">
                <a:extLst>
                  <a:ext uri="{FF2B5EF4-FFF2-40B4-BE49-F238E27FC236}">
                    <a16:creationId xmlns:a16="http://schemas.microsoft.com/office/drawing/2014/main" id="{D6F859FC-A1DA-4322-BFB6-7F3F98310D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411" y="3696676"/>
                <a:ext cx="4896277" cy="406522"/>
              </a:xfrm>
              <a:prstGeom prst="rect">
                <a:avLst/>
              </a:prstGeom>
              <a:blipFill>
                <a:blip r:embed="rId8"/>
                <a:stretch>
                  <a:fillRect l="-374" t="-4478" b="-16418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CCE45D15-84F5-4722-9227-5BF8B45AE5B6}"/>
                  </a:ext>
                </a:extLst>
              </p:cNvPr>
              <p:cNvSpPr/>
              <p:nvPr/>
            </p:nvSpPr>
            <p:spPr>
              <a:xfrm>
                <a:off x="1598496" y="4471843"/>
                <a:ext cx="1593770" cy="3952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CO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𝐣</m:t>
                        </m:r>
                      </m:sub>
                    </m:sSub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∈</m:t>
                    </m:r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ℤ</m:t>
                    </m:r>
                  </m:oMath>
                </a14:m>
                <a:r>
                  <a:rPr lang="es-CO" b="1" dirty="0">
                    <a:solidFill>
                      <a:schemeClr val="tx1"/>
                    </a:solidFill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O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𝐢</m:t>
                        </m:r>
                      </m:sub>
                    </m:sSub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≥</m:t>
                    </m:r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s-CO" b="1" dirty="0">
                    <a:solidFill>
                      <a:schemeClr val="tx1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CCE45D15-84F5-4722-9227-5BF8B45AE5B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8496" y="4471843"/>
                <a:ext cx="1593770" cy="395236"/>
              </a:xfrm>
              <a:prstGeom prst="rect">
                <a:avLst/>
              </a:prstGeom>
              <a:blipFill>
                <a:blip r:embed="rId9"/>
                <a:stretch>
                  <a:fillRect t="-7813" b="-20313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D39AB9C0-1C09-4176-9F43-A8FFECD1E6E5}"/>
                  </a:ext>
                </a:extLst>
              </p:cNvPr>
              <p:cNvSpPr/>
              <p:nvPr/>
            </p:nvSpPr>
            <p:spPr>
              <a:xfrm>
                <a:off x="1155106" y="1553152"/>
                <a:ext cx="1240275" cy="4004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𝐜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  <m:sup>
                          <m:r>
                            <a:rPr lang="es-CO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s-CO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𝐜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  <m:sup>
                          <m:r>
                            <a:rPr lang="es-CO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es-CO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D39AB9C0-1C09-4176-9F43-A8FFECD1E6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5106" y="1553152"/>
                <a:ext cx="1240275" cy="400431"/>
              </a:xfrm>
              <a:prstGeom prst="rect">
                <a:avLst/>
              </a:prstGeom>
              <a:blipFill>
                <a:blip r:embed="rId10"/>
                <a:stretch>
                  <a:fillRect b="-6154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961586" y="6094740"/>
            <a:ext cx="103906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trara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1990)</a:t>
            </a:r>
            <a:endParaRPr lang="es-CO" sz="11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7FA14C7F-9BE6-4915-8D1D-3CFAC1E61DCF}"/>
                  </a:ext>
                </a:extLst>
              </p:cNvPr>
              <p:cNvSpPr/>
              <p:nvPr/>
            </p:nvSpPr>
            <p:spPr>
              <a:xfrm>
                <a:off x="1604575" y="5012925"/>
                <a:ext cx="1524007" cy="3952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b>
                          <m: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𝐣</m:t>
                          </m:r>
                        </m:sub>
                      </m:sSub>
                      <m:r>
                        <a:rPr lang="es-CO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∈</m:t>
                      </m:r>
                      <m:r>
                        <a:rPr lang="es-CO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ℤ</m:t>
                      </m:r>
                      <m:r>
                        <a:rPr lang="es-CO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b>
                          <m: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𝐢</m:t>
                          </m:r>
                        </m:sub>
                      </m:sSub>
                      <m:r>
                        <a:rPr lang="es-CO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≥0</m:t>
                      </m:r>
                    </m:oMath>
                  </m:oMathPara>
                </a14:m>
                <a:endParaRPr lang="es-CO" b="1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7FA14C7F-9BE6-4915-8D1D-3CFAC1E61DC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4575" y="5012925"/>
                <a:ext cx="1524007" cy="395236"/>
              </a:xfrm>
              <a:prstGeom prst="rect">
                <a:avLst/>
              </a:prstGeom>
              <a:blipFill>
                <a:blip r:embed="rId12"/>
                <a:stretch>
                  <a:fillRect b="-9231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ítulo 1">
            <a:extLst>
              <a:ext uri="{FF2B5EF4-FFF2-40B4-BE49-F238E27FC236}">
                <a16:creationId xmlns:a16="http://schemas.microsoft.com/office/drawing/2014/main" id="{05B40518-410C-4188-AF79-A141AC610A05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Mixed Integer Bi-Level Problem (value function formulation)</a:t>
            </a:r>
          </a:p>
        </p:txBody>
      </p:sp>
    </p:spTree>
    <p:extLst>
      <p:ext uri="{BB962C8B-B14F-4D97-AF65-F5344CB8AC3E}">
        <p14:creationId xmlns:p14="http://schemas.microsoft.com/office/powerpoint/2010/main" val="19854659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21</a:t>
            </a:fld>
            <a:endParaRPr lang="es-E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CFC7A020-53B4-4A50-AA1E-958AE3BB35BC}"/>
                  </a:ext>
                </a:extLst>
              </p:cNvPr>
              <p:cNvSpPr/>
              <p:nvPr/>
            </p:nvSpPr>
            <p:spPr>
              <a:xfrm>
                <a:off x="539995" y="1579260"/>
                <a:ext cx="87235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s-CO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s-CO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min</m:t>
                          </m:r>
                        </m:fName>
                        <m:e/>
                      </m:func>
                    </m:oMath>
                  </m:oMathPara>
                </a14:m>
                <a:endParaRPr lang="es-CO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CFC7A020-53B4-4A50-AA1E-958AE3BB35B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995" y="1579260"/>
                <a:ext cx="872355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/>
              <p:nvPr/>
            </p:nvSpPr>
            <p:spPr>
              <a:xfrm>
                <a:off x="58821" y="1983667"/>
                <a:ext cx="60087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𝐬</m:t>
                      </m:r>
                      <m:r>
                        <a:rPr lang="es-MX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s-CO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𝐭</m:t>
                      </m:r>
                      <m:r>
                        <a:rPr lang="es-CO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,</m:t>
                      </m:r>
                    </m:oMath>
                  </m:oMathPara>
                </a14:m>
                <a:endParaRPr lang="es-CO" sz="16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21" y="1983667"/>
                <a:ext cx="600870" cy="33855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ángulo 14">
                <a:extLst>
                  <a:ext uri="{FF2B5EF4-FFF2-40B4-BE49-F238E27FC236}">
                    <a16:creationId xmlns:a16="http://schemas.microsoft.com/office/drawing/2014/main" id="{D05CBB55-E632-45DA-BA3C-81014D0019C5}"/>
                  </a:ext>
                </a:extLst>
              </p:cNvPr>
              <p:cNvSpPr/>
              <p:nvPr/>
            </p:nvSpPr>
            <p:spPr>
              <a:xfrm>
                <a:off x="1292525" y="2347676"/>
                <a:ext cx="182780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𝐀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  <m:r>
                        <a:rPr lang="es-MX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𝐁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s-MX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𝐛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</m:oMath>
                  </m:oMathPara>
                </a14:m>
                <a:endParaRPr lang="es-CO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ángulo 14">
                <a:extLst>
                  <a:ext uri="{FF2B5EF4-FFF2-40B4-BE49-F238E27FC236}">
                    <a16:creationId xmlns:a16="http://schemas.microsoft.com/office/drawing/2014/main" id="{D05CBB55-E632-45DA-BA3C-81014D0019C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2525" y="2347676"/>
                <a:ext cx="1827808" cy="369332"/>
              </a:xfrm>
              <a:prstGeom prst="rect">
                <a:avLst/>
              </a:prstGeom>
              <a:blipFill>
                <a:blip r:embed="rId5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ángulo 18">
                <a:extLst>
                  <a:ext uri="{FF2B5EF4-FFF2-40B4-BE49-F238E27FC236}">
                    <a16:creationId xmlns:a16="http://schemas.microsoft.com/office/drawing/2014/main" id="{7DDEA1F6-497F-4D91-A638-EB6677FE212B}"/>
                  </a:ext>
                </a:extLst>
              </p:cNvPr>
              <p:cNvSpPr/>
              <p:nvPr/>
            </p:nvSpPr>
            <p:spPr>
              <a:xfrm>
                <a:off x="1835696" y="3212976"/>
                <a:ext cx="1516056" cy="40607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s-MX" b="1" i="1" smtClean="0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 i="0" smtClean="0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𝐝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  <m:sup>
                          <m:r>
                            <a:rPr lang="es-MX" b="1" i="0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𝐓</m:t>
                          </m:r>
                        </m:sup>
                      </m:sSubSup>
                      <m:r>
                        <a:rPr lang="es-MX" b="1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s-CO" b="1" i="0" smtClean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s-CO" b="1" i="0" smtClean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𝛟</m:t>
                      </m:r>
                      <m:r>
                        <a:rPr lang="es-CO" b="1" i="0" smtClean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b="1" i="1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b="1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b="1" dirty="0">
                  <a:solidFill>
                    <a:schemeClr val="bg1">
                      <a:lumMod val="75000"/>
                    </a:schemeClr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9" name="Rectángulo 18">
                <a:extLst>
                  <a:ext uri="{FF2B5EF4-FFF2-40B4-BE49-F238E27FC236}">
                    <a16:creationId xmlns:a16="http://schemas.microsoft.com/office/drawing/2014/main" id="{7DDEA1F6-497F-4D91-A638-EB6677FE212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696" y="3212976"/>
                <a:ext cx="1516056" cy="406073"/>
              </a:xfrm>
              <a:prstGeom prst="rect">
                <a:avLst/>
              </a:prstGeom>
              <a:blipFill>
                <a:blip r:embed="rId6"/>
                <a:stretch>
                  <a:fillRect b="-5970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Imagen 10">
            <a:extLst>
              <a:ext uri="{FF2B5EF4-FFF2-40B4-BE49-F238E27FC236}">
                <a16:creationId xmlns:a16="http://schemas.microsoft.com/office/drawing/2014/main" id="{C7EBC365-AF6F-4D30-8A2C-BF4028C44D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22774" y="1579261"/>
            <a:ext cx="376529" cy="40440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ángulo 22">
                <a:extLst>
                  <a:ext uri="{FF2B5EF4-FFF2-40B4-BE49-F238E27FC236}">
                    <a16:creationId xmlns:a16="http://schemas.microsoft.com/office/drawing/2014/main" id="{D6F859FC-A1DA-4322-BFB6-7F3F98310DA5}"/>
                  </a:ext>
                </a:extLst>
              </p:cNvPr>
              <p:cNvSpPr/>
              <p:nvPr/>
            </p:nvSpPr>
            <p:spPr>
              <a:xfrm>
                <a:off x="1675411" y="3696676"/>
                <a:ext cx="4896277" cy="406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s-CO" b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𝛟</m:t>
                    </m:r>
                    <m:d>
                      <m:dPr>
                        <m:ctrlPr>
                          <a:rPr lang="es-CO" b="1" i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s-CO" b="1" i="1">
                                <a:solidFill>
                                  <a:schemeClr val="bg1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s-CO" b="1">
                                <a:solidFill>
                                  <a:schemeClr val="bg1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𝐱</m:t>
                            </m:r>
                          </m:e>
                          <m:sup>
                            <m:r>
                              <a:rPr lang="es-CO" b="1">
                                <a:solidFill>
                                  <a:schemeClr val="bg1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es-CO" b="1" i="0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={</m:t>
                    </m:r>
                    <m:sSubSup>
                      <m:sSubSupPr>
                        <m:ctrlPr>
                          <a:rPr lang="es-CO" b="1" i="1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𝐝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  <m:sup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𝐓</m:t>
                        </m:r>
                      </m:sup>
                    </m:sSubSup>
                    <m:r>
                      <a:rPr lang="es-CO" b="1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 : </m:t>
                    </m:r>
                    <m:sSub>
                      <m:sSubPr>
                        <m:ctrlPr>
                          <a:rPr lang="es-CO" b="1" i="1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𝐁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 i="0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𝐲</m:t>
                    </m:r>
                    <m:r>
                      <a:rPr lang="es-CO" b="1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s-CO" b="1" i="1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𝐛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s-MX" i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𝐀</m:t>
                        </m:r>
                      </m:e>
                      <m:sub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sSup>
                      <m:sSupPr>
                        <m:ctrlPr>
                          <a:rPr lang="es-CO" b="1" i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s-CO" b="1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s-CO" b="1" i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e>
                      <m:sub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𝐣</m:t>
                        </m:r>
                      </m:sub>
                    </m:sSub>
                    <m:r>
                      <a:rPr lang="es-CO" b="1" i="1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∈</m:t>
                    </m:r>
                    <m:r>
                      <a:rPr lang="es-CO" b="1" i="1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ℤ</m:t>
                    </m:r>
                    <m:r>
                      <a:rPr lang="es-CO" b="1" i="1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s-CO" b="1" i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e>
                      <m:sub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𝐢</m:t>
                        </m:r>
                      </m:sub>
                    </m:sSub>
                    <m:r>
                      <a:rPr lang="es-CO" b="1" i="1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≥</m:t>
                    </m:r>
                    <m:r>
                      <a:rPr lang="es-CO" b="0" i="1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es-CO" dirty="0">
                    <a:solidFill>
                      <a:schemeClr val="bg1">
                        <a:lumMod val="75000"/>
                      </a:schemeClr>
                    </a:solidFill>
                  </a:rPr>
                  <a:t>}</a:t>
                </a:r>
              </a:p>
            </p:txBody>
          </p:sp>
        </mc:Choice>
        <mc:Fallback xmlns="">
          <p:sp>
            <p:nvSpPr>
              <p:cNvPr id="23" name="Rectángulo 22">
                <a:extLst>
                  <a:ext uri="{FF2B5EF4-FFF2-40B4-BE49-F238E27FC236}">
                    <a16:creationId xmlns:a16="http://schemas.microsoft.com/office/drawing/2014/main" id="{D6F859FC-A1DA-4322-BFB6-7F3F98310D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411" y="3696676"/>
                <a:ext cx="4896277" cy="406522"/>
              </a:xfrm>
              <a:prstGeom prst="rect">
                <a:avLst/>
              </a:prstGeom>
              <a:blipFill>
                <a:blip r:embed="rId8"/>
                <a:stretch>
                  <a:fillRect l="-374" t="-4478" b="-16418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CCE45D15-84F5-4722-9227-5BF8B45AE5B6}"/>
                  </a:ext>
                </a:extLst>
              </p:cNvPr>
              <p:cNvSpPr/>
              <p:nvPr/>
            </p:nvSpPr>
            <p:spPr>
              <a:xfrm>
                <a:off x="1598496" y="4471843"/>
                <a:ext cx="1593770" cy="3952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CO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𝐣</m:t>
                        </m:r>
                      </m:sub>
                    </m:sSub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∈</m:t>
                    </m:r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ℤ</m:t>
                    </m:r>
                  </m:oMath>
                </a14:m>
                <a:r>
                  <a:rPr lang="es-CO" b="1" dirty="0">
                    <a:solidFill>
                      <a:schemeClr val="tx1"/>
                    </a:solidFill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O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𝐢</m:t>
                        </m:r>
                      </m:sub>
                    </m:sSub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≥</m:t>
                    </m:r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s-CO" b="1" dirty="0">
                    <a:solidFill>
                      <a:schemeClr val="tx1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CCE45D15-84F5-4722-9227-5BF8B45AE5B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8496" y="4471843"/>
                <a:ext cx="1593770" cy="395236"/>
              </a:xfrm>
              <a:prstGeom prst="rect">
                <a:avLst/>
              </a:prstGeom>
              <a:blipFill>
                <a:blip r:embed="rId9"/>
                <a:stretch>
                  <a:fillRect t="-7813" r="-1908" b="-20313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D39AB9C0-1C09-4176-9F43-A8FFECD1E6E5}"/>
                  </a:ext>
                </a:extLst>
              </p:cNvPr>
              <p:cNvSpPr/>
              <p:nvPr/>
            </p:nvSpPr>
            <p:spPr>
              <a:xfrm>
                <a:off x="1155106" y="1553152"/>
                <a:ext cx="1240275" cy="4004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𝐜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  <m:sup>
                          <m:r>
                            <a:rPr lang="es-CO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s-CO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𝐜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  <m:sup>
                          <m:r>
                            <a:rPr lang="es-CO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es-CO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D39AB9C0-1C09-4176-9F43-A8FFECD1E6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5106" y="1553152"/>
                <a:ext cx="1240275" cy="400431"/>
              </a:xfrm>
              <a:prstGeom prst="rect">
                <a:avLst/>
              </a:prstGeom>
              <a:blipFill>
                <a:blip r:embed="rId10"/>
                <a:stretch>
                  <a:fillRect b="-6154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961586" y="6094740"/>
            <a:ext cx="103906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trara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1990)</a:t>
            </a:r>
            <a:endParaRPr lang="es-CO" sz="11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7FA14C7F-9BE6-4915-8D1D-3CFAC1E61DCF}"/>
                  </a:ext>
                </a:extLst>
              </p:cNvPr>
              <p:cNvSpPr/>
              <p:nvPr/>
            </p:nvSpPr>
            <p:spPr>
              <a:xfrm>
                <a:off x="1604575" y="5012925"/>
                <a:ext cx="1524007" cy="3952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b>
                          <m: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𝐣</m:t>
                          </m:r>
                        </m:sub>
                      </m:sSub>
                      <m:r>
                        <a:rPr lang="es-CO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∈</m:t>
                      </m:r>
                      <m:r>
                        <a:rPr lang="es-CO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ℤ</m:t>
                      </m:r>
                      <m:r>
                        <a:rPr lang="es-CO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b>
                          <m: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𝐢</m:t>
                          </m:r>
                        </m:sub>
                      </m:sSub>
                      <m:r>
                        <a:rPr lang="es-CO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≥0</m:t>
                      </m:r>
                    </m:oMath>
                  </m:oMathPara>
                </a14:m>
                <a:endParaRPr lang="es-CO" b="1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7FA14C7F-9BE6-4915-8D1D-3CFAC1E61DC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4575" y="5012925"/>
                <a:ext cx="1524007" cy="395236"/>
              </a:xfrm>
              <a:prstGeom prst="rect">
                <a:avLst/>
              </a:prstGeom>
              <a:blipFill>
                <a:blip r:embed="rId12"/>
                <a:stretch>
                  <a:fillRect b="-9231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ítulo 1">
            <a:extLst>
              <a:ext uri="{FF2B5EF4-FFF2-40B4-BE49-F238E27FC236}">
                <a16:creationId xmlns:a16="http://schemas.microsoft.com/office/drawing/2014/main" id="{978D60FE-363D-4103-886D-B0CFAECB285D}"/>
              </a:ext>
            </a:extLst>
          </p:cNvPr>
          <p:cNvSpPr txBox="1">
            <a:spLocks/>
          </p:cNvSpPr>
          <p:nvPr/>
        </p:nvSpPr>
        <p:spPr>
          <a:xfrm>
            <a:off x="251519" y="620688"/>
            <a:ext cx="8749133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High Point Relaxation (HPR): Solving from leader’s perspectiv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CuadroTexto 13">
                <a:extLst>
                  <a:ext uri="{FF2B5EF4-FFF2-40B4-BE49-F238E27FC236}">
                    <a16:creationId xmlns:a16="http://schemas.microsoft.com/office/drawing/2014/main" id="{F938C969-9A48-4E98-82FC-C041A37D289F}"/>
                  </a:ext>
                </a:extLst>
              </p:cNvPr>
              <p:cNvSpPr txBox="1"/>
              <p:nvPr/>
            </p:nvSpPr>
            <p:spPr>
              <a:xfrm>
                <a:off x="5652120" y="2213357"/>
                <a:ext cx="2664296" cy="4060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s-MX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𝐝</m:t>
                          </m:r>
                        </m:e>
                        <m:sub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  <m:sup>
                          <m:r>
                            <a:rPr lang="es-MX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𝐓</m:t>
                          </m:r>
                        </m:sup>
                      </m:sSubSup>
                      <m:sSup>
                        <m:sSup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MX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p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s-CO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𝛟</m:t>
                      </m:r>
                      <m:r>
                        <a:rPr lang="es-CO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b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4" name="CuadroTexto 13">
                <a:extLst>
                  <a:ext uri="{FF2B5EF4-FFF2-40B4-BE49-F238E27FC236}">
                    <a16:creationId xmlns:a16="http://schemas.microsoft.com/office/drawing/2014/main" id="{F938C969-9A48-4E98-82FC-C041A37D28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52120" y="2213357"/>
                <a:ext cx="2664296" cy="406073"/>
              </a:xfrm>
              <a:prstGeom prst="rect">
                <a:avLst/>
              </a:prstGeom>
              <a:blipFill>
                <a:blip r:embed="rId13"/>
                <a:stretch>
                  <a:fillRect b="-5970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ectángulo 15">
            <a:extLst>
              <a:ext uri="{FF2B5EF4-FFF2-40B4-BE49-F238E27FC236}">
                <a16:creationId xmlns:a16="http://schemas.microsoft.com/office/drawing/2014/main" id="{B8B73AB1-BB33-4C79-B1B7-67BCA3EFAF2A}"/>
              </a:ext>
            </a:extLst>
          </p:cNvPr>
          <p:cNvSpPr/>
          <p:nvPr/>
        </p:nvSpPr>
        <p:spPr>
          <a:xfrm>
            <a:off x="6161089" y="2213358"/>
            <a:ext cx="1579264" cy="424364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EB3357CF-F712-49F6-A0ED-2941D7C26345}"/>
              </a:ext>
            </a:extLst>
          </p:cNvPr>
          <p:cNvSpPr/>
          <p:nvPr/>
        </p:nvSpPr>
        <p:spPr>
          <a:xfrm>
            <a:off x="1549318" y="4487221"/>
            <a:ext cx="1524007" cy="920939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AC7FB405-BF0E-47DA-954D-39B5203D618F}"/>
              </a:ext>
            </a:extLst>
          </p:cNvPr>
          <p:cNvSpPr/>
          <p:nvPr/>
        </p:nvSpPr>
        <p:spPr>
          <a:xfrm>
            <a:off x="5099861" y="4669461"/>
            <a:ext cx="3701719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dirty="0" err="1">
                <a:ln w="0"/>
                <a:solidFill>
                  <a:srgbClr val="C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Bi-level</a:t>
            </a:r>
            <a:r>
              <a:rPr lang="es-ES" sz="3600" dirty="0">
                <a:ln w="0"/>
                <a:solidFill>
                  <a:srgbClr val="C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3600" dirty="0" err="1">
                <a:ln w="0"/>
                <a:solidFill>
                  <a:srgbClr val="C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feasibility</a:t>
            </a:r>
            <a:endParaRPr lang="es-ES" sz="3600" b="0" cap="none" spc="0" dirty="0">
              <a:ln w="0"/>
              <a:solidFill>
                <a:srgbClr val="C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ángulo 5">
                <a:extLst>
                  <a:ext uri="{FF2B5EF4-FFF2-40B4-BE49-F238E27FC236}">
                    <a16:creationId xmlns:a16="http://schemas.microsoft.com/office/drawing/2014/main" id="{EFD0607F-6A20-4AF0-9239-3CD2A75F51C9}"/>
                  </a:ext>
                </a:extLst>
              </p:cNvPr>
              <p:cNvSpPr/>
              <p:nvPr/>
            </p:nvSpPr>
            <p:spPr>
              <a:xfrm>
                <a:off x="1313816" y="2725860"/>
                <a:ext cx="1837426" cy="3947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es-CO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CO" b="1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𝐀</m:t>
                              </m:r>
                            </m:e>
                            <m:sub>
                              <m:r>
                                <a:rPr lang="es-CO" b="1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𝐲</m:t>
                              </m:r>
                            </m:sub>
                          </m:s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𝐁</m:t>
                          </m:r>
                        </m:e>
                        <m:sub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</m:sSub>
                      <m:r>
                        <a:rPr lang="es-CO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s-CO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𝐛</m:t>
                          </m:r>
                        </m:e>
                        <m:sub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</m:sSub>
                    </m:oMath>
                  </m:oMathPara>
                </a14:m>
                <a:endParaRPr lang="es-CO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Rectángulo 5">
                <a:extLst>
                  <a:ext uri="{FF2B5EF4-FFF2-40B4-BE49-F238E27FC236}">
                    <a16:creationId xmlns:a16="http://schemas.microsoft.com/office/drawing/2014/main" id="{EFD0607F-6A20-4AF0-9239-3CD2A75F51C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816" y="2725860"/>
                <a:ext cx="1837426" cy="394788"/>
              </a:xfrm>
              <a:prstGeom prst="rect">
                <a:avLst/>
              </a:prstGeom>
              <a:blipFill>
                <a:blip r:embed="rId14"/>
                <a:stretch>
                  <a:fillRect b="-4615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F151713B-1962-4CC7-99E8-65E12EFA897E}"/>
              </a:ext>
            </a:extLst>
          </p:cNvPr>
          <p:cNvCxnSpPr>
            <a:cxnSpLocks/>
          </p:cNvCxnSpPr>
          <p:nvPr/>
        </p:nvCxnSpPr>
        <p:spPr>
          <a:xfrm flipV="1">
            <a:off x="7174124" y="2619430"/>
            <a:ext cx="0" cy="501218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>
            <a:extLst>
              <a:ext uri="{FF2B5EF4-FFF2-40B4-BE49-F238E27FC236}">
                <a16:creationId xmlns:a16="http://schemas.microsoft.com/office/drawing/2014/main" id="{148F9CE4-AAB4-4459-BC83-6CE02926FD9F}"/>
              </a:ext>
            </a:extLst>
          </p:cNvPr>
          <p:cNvSpPr txBox="1"/>
          <p:nvPr/>
        </p:nvSpPr>
        <p:spPr>
          <a:xfrm>
            <a:off x="6169227" y="3099593"/>
            <a:ext cx="2219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err="1"/>
              <a:t>Best</a:t>
            </a:r>
            <a:r>
              <a:rPr lang="es-CO" dirty="0"/>
              <a:t> </a:t>
            </a:r>
            <a:r>
              <a:rPr lang="es-CO" dirty="0" err="1"/>
              <a:t>agent’s</a:t>
            </a:r>
            <a:r>
              <a:rPr lang="es-CO" dirty="0"/>
              <a:t> response</a:t>
            </a:r>
          </a:p>
        </p:txBody>
      </p:sp>
    </p:spTree>
    <p:extLst>
      <p:ext uri="{BB962C8B-B14F-4D97-AF65-F5344CB8AC3E}">
        <p14:creationId xmlns:p14="http://schemas.microsoft.com/office/powerpoint/2010/main" val="4050779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6" grpId="0" animBg="1"/>
      <p:bldP spid="17" grpId="0" animBg="1"/>
      <p:bldP spid="2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22</a:t>
            </a:fld>
            <a:endParaRPr lang="es-E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CFC7A020-53B4-4A50-AA1E-958AE3BB35BC}"/>
                  </a:ext>
                </a:extLst>
              </p:cNvPr>
              <p:cNvSpPr/>
              <p:nvPr/>
            </p:nvSpPr>
            <p:spPr>
              <a:xfrm>
                <a:off x="539995" y="1579260"/>
                <a:ext cx="87235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s-CO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s-CO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min</m:t>
                          </m:r>
                        </m:fName>
                        <m:e/>
                      </m:func>
                    </m:oMath>
                  </m:oMathPara>
                </a14:m>
                <a:endParaRPr lang="es-CO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CFC7A020-53B4-4A50-AA1E-958AE3BB35B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995" y="1579260"/>
                <a:ext cx="872355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/>
              <p:nvPr/>
            </p:nvSpPr>
            <p:spPr>
              <a:xfrm>
                <a:off x="58821" y="1983667"/>
                <a:ext cx="60087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𝐬</m:t>
                      </m:r>
                      <m:r>
                        <a:rPr lang="es-MX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s-CO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𝐭</m:t>
                      </m:r>
                      <m:r>
                        <a:rPr lang="es-CO" sz="16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,</m:t>
                      </m:r>
                    </m:oMath>
                  </m:oMathPara>
                </a14:m>
                <a:endParaRPr lang="es-CO" sz="16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21" y="1983667"/>
                <a:ext cx="600870" cy="33855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Imagen 10">
            <a:extLst>
              <a:ext uri="{FF2B5EF4-FFF2-40B4-BE49-F238E27FC236}">
                <a16:creationId xmlns:a16="http://schemas.microsoft.com/office/drawing/2014/main" id="{C7EBC365-AF6F-4D30-8A2C-BF4028C44D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2774" y="1579261"/>
            <a:ext cx="376529" cy="40440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ángulo 22">
                <a:extLst>
                  <a:ext uri="{FF2B5EF4-FFF2-40B4-BE49-F238E27FC236}">
                    <a16:creationId xmlns:a16="http://schemas.microsoft.com/office/drawing/2014/main" id="{D6F859FC-A1DA-4322-BFB6-7F3F98310DA5}"/>
                  </a:ext>
                </a:extLst>
              </p:cNvPr>
              <p:cNvSpPr/>
              <p:nvPr/>
            </p:nvSpPr>
            <p:spPr>
              <a:xfrm>
                <a:off x="1675411" y="3696676"/>
                <a:ext cx="4896277" cy="406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s-CO" b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𝛟</m:t>
                    </m:r>
                    <m:d>
                      <m:dPr>
                        <m:ctrlPr>
                          <a:rPr lang="es-CO" b="1" i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s-CO" b="1" i="1">
                                <a:solidFill>
                                  <a:schemeClr val="bg1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s-CO" b="1">
                                <a:solidFill>
                                  <a:schemeClr val="bg1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𝐱</m:t>
                            </m:r>
                          </m:e>
                          <m:sup>
                            <m:r>
                              <a:rPr lang="es-CO" b="1">
                                <a:solidFill>
                                  <a:schemeClr val="bg1">
                                    <a:lumMod val="7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es-CO" b="1" i="0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={</m:t>
                    </m:r>
                    <m:sSubSup>
                      <m:sSubSupPr>
                        <m:ctrlPr>
                          <a:rPr lang="es-CO" b="1" i="1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𝐝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  <m:sup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𝐓</m:t>
                        </m:r>
                      </m:sup>
                    </m:sSubSup>
                    <m:r>
                      <a:rPr lang="es-CO" b="1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 : </m:t>
                    </m:r>
                    <m:sSub>
                      <m:sSubPr>
                        <m:ctrlPr>
                          <a:rPr lang="es-CO" b="1" i="1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𝐁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 i="0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𝐲</m:t>
                    </m:r>
                    <m:r>
                      <a:rPr lang="es-CO" b="1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s-CO" b="1" i="1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𝐛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s-MX" i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𝐀</m:t>
                        </m:r>
                      </m:e>
                      <m:sub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sSup>
                      <m:sSupPr>
                        <m:ctrlPr>
                          <a:rPr lang="es-CO" b="1" i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s-CO" b="1" i="1" smtClean="0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s-CO" b="1" i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e>
                      <m:sub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𝐣</m:t>
                        </m:r>
                      </m:sub>
                    </m:sSub>
                    <m:r>
                      <a:rPr lang="es-CO" b="1" i="1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∈</m:t>
                    </m:r>
                    <m:r>
                      <a:rPr lang="es-CO" b="1" i="1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ℤ</m:t>
                    </m:r>
                    <m:r>
                      <a:rPr lang="es-CO" b="1" i="1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s-CO" b="1" i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e>
                      <m:sub>
                        <m:r>
                          <a:rPr lang="es-CO" b="1">
                            <a:solidFill>
                              <a:schemeClr val="bg1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𝐢</m:t>
                        </m:r>
                      </m:sub>
                    </m:sSub>
                    <m:r>
                      <a:rPr lang="es-CO" b="1" i="1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≥</m:t>
                    </m:r>
                    <m:r>
                      <a:rPr lang="es-CO" b="0" i="1">
                        <a:solidFill>
                          <a:schemeClr val="bg1">
                            <a:lumMod val="75000"/>
                          </a:schemeClr>
                        </a:solidFill>
                        <a:latin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es-CO" dirty="0">
                    <a:solidFill>
                      <a:schemeClr val="bg1">
                        <a:lumMod val="75000"/>
                      </a:schemeClr>
                    </a:solidFill>
                  </a:rPr>
                  <a:t>}</a:t>
                </a:r>
              </a:p>
            </p:txBody>
          </p:sp>
        </mc:Choice>
        <mc:Fallback xmlns="">
          <p:sp>
            <p:nvSpPr>
              <p:cNvPr id="23" name="Rectángulo 22">
                <a:extLst>
                  <a:ext uri="{FF2B5EF4-FFF2-40B4-BE49-F238E27FC236}">
                    <a16:creationId xmlns:a16="http://schemas.microsoft.com/office/drawing/2014/main" id="{D6F859FC-A1DA-4322-BFB6-7F3F98310D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411" y="3696676"/>
                <a:ext cx="4896277" cy="406522"/>
              </a:xfrm>
              <a:prstGeom prst="rect">
                <a:avLst/>
              </a:prstGeom>
              <a:blipFill>
                <a:blip r:embed="rId8"/>
                <a:stretch>
                  <a:fillRect l="-374" t="-4478" b="-16418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CCE45D15-84F5-4722-9227-5BF8B45AE5B6}"/>
                  </a:ext>
                </a:extLst>
              </p:cNvPr>
              <p:cNvSpPr/>
              <p:nvPr/>
            </p:nvSpPr>
            <p:spPr>
              <a:xfrm>
                <a:off x="1598496" y="4471843"/>
                <a:ext cx="87158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CO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b>
                        <m:r>
                          <a:rPr lang="es-CO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𝐢</m:t>
                        </m:r>
                      </m:sub>
                    </m:sSub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≥</m:t>
                    </m:r>
                    <m:r>
                      <a:rPr lang="es-CO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s-CO" b="1" dirty="0">
                    <a:solidFill>
                      <a:schemeClr val="tx1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CCE45D15-84F5-4722-9227-5BF8B45AE5B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8496" y="4471843"/>
                <a:ext cx="871585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D39AB9C0-1C09-4176-9F43-A8FFECD1E6E5}"/>
                  </a:ext>
                </a:extLst>
              </p:cNvPr>
              <p:cNvSpPr/>
              <p:nvPr/>
            </p:nvSpPr>
            <p:spPr>
              <a:xfrm>
                <a:off x="1155106" y="1553152"/>
                <a:ext cx="1240275" cy="4004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𝐜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  <m:sup>
                          <m:r>
                            <a:rPr lang="es-CO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s-CO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𝐜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  <m:sup>
                          <m:r>
                            <a:rPr lang="es-CO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es-CO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D39AB9C0-1C09-4176-9F43-A8FFECD1E6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5106" y="1553152"/>
                <a:ext cx="1240275" cy="400431"/>
              </a:xfrm>
              <a:prstGeom prst="rect">
                <a:avLst/>
              </a:prstGeom>
              <a:blipFill>
                <a:blip r:embed="rId10"/>
                <a:stretch>
                  <a:fillRect b="-6154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961586" y="6094740"/>
            <a:ext cx="103906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trara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1990)</a:t>
            </a:r>
            <a:endParaRPr lang="es-CO" sz="11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7FA14C7F-9BE6-4915-8D1D-3CFAC1E61DCF}"/>
                  </a:ext>
                </a:extLst>
              </p:cNvPr>
              <p:cNvSpPr/>
              <p:nvPr/>
            </p:nvSpPr>
            <p:spPr>
              <a:xfrm>
                <a:off x="1604575" y="5012925"/>
                <a:ext cx="84471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b>
                          <m: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𝐢</m:t>
                          </m:r>
                        </m:sub>
                      </m:sSub>
                      <m:r>
                        <a:rPr lang="es-CO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≥0</m:t>
                      </m:r>
                    </m:oMath>
                  </m:oMathPara>
                </a14:m>
                <a:endParaRPr lang="es-CO" b="1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7FA14C7F-9BE6-4915-8D1D-3CFAC1E61DC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4575" y="5012925"/>
                <a:ext cx="844718" cy="369332"/>
              </a:xfrm>
              <a:prstGeom prst="rect">
                <a:avLst/>
              </a:prstGeom>
              <a:blipFill>
                <a:blip r:embed="rId11"/>
                <a:stretch>
                  <a:fillRect b="-819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ítulo 1">
                <a:extLst>
                  <a:ext uri="{FF2B5EF4-FFF2-40B4-BE49-F238E27FC236}">
                    <a16:creationId xmlns:a16="http://schemas.microsoft.com/office/drawing/2014/main" id="{978D60FE-363D-4103-886D-B0CFAECB285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1519" y="620688"/>
                <a:ext cx="8749133" cy="1143000"/>
              </a:xfrm>
              <a:prstGeom prst="rect">
                <a:avLst/>
              </a:prstGeom>
            </p:spPr>
            <p:txBody>
              <a:bodyPr/>
              <a:lstStyle>
                <a:lvl1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  <a:lvl2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4572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9144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13716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1828800" algn="ctr" rtl="0" eaLnBrk="1" fontAlgn="base" hangingPunct="1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l"/>
                <a:r>
                  <a:rPr lang="en-US" sz="2400" b="1" dirty="0"/>
                  <a:t>High Point Relaxation (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s-CO" sz="2400" b="1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s-CO" sz="2400" b="1" i="0" smtClean="0">
                            <a:latin typeface="Cambria Math" panose="02040503050406030204" pitchFamily="18" charset="0"/>
                          </a:rPr>
                          <m:t>𝐇𝐏𝐑</m:t>
                        </m:r>
                      </m:e>
                    </m:acc>
                  </m:oMath>
                </a14:m>
                <a:r>
                  <a:rPr lang="en-US" sz="2400" b="1" dirty="0"/>
                  <a:t>): Solving from leader’s perspective</a:t>
                </a:r>
              </a:p>
            </p:txBody>
          </p:sp>
        </mc:Choice>
        <mc:Fallback xmlns="">
          <p:sp>
            <p:nvSpPr>
              <p:cNvPr id="21" name="Título 1">
                <a:extLst>
                  <a:ext uri="{FF2B5EF4-FFF2-40B4-BE49-F238E27FC236}">
                    <a16:creationId xmlns:a16="http://schemas.microsoft.com/office/drawing/2014/main" id="{978D60FE-363D-4103-886D-B0CFAECB28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519" y="620688"/>
                <a:ext cx="8749133" cy="1143000"/>
              </a:xfrm>
              <a:prstGeom prst="rect">
                <a:avLst/>
              </a:prstGeom>
              <a:blipFill>
                <a:blip r:embed="rId12"/>
                <a:stretch>
                  <a:fillRect l="-1045" t="-4278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ángulo 15">
                <a:extLst>
                  <a:ext uri="{FF2B5EF4-FFF2-40B4-BE49-F238E27FC236}">
                    <a16:creationId xmlns:a16="http://schemas.microsoft.com/office/drawing/2014/main" id="{5DFBBE1F-BEA3-4AF8-BA4B-8DA7A22FFFA4}"/>
                  </a:ext>
                </a:extLst>
              </p:cNvPr>
              <p:cNvSpPr/>
              <p:nvPr/>
            </p:nvSpPr>
            <p:spPr>
              <a:xfrm>
                <a:off x="1292525" y="2347676"/>
                <a:ext cx="182780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𝐀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  <m:r>
                        <a:rPr lang="es-MX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𝐁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  <m:r>
                        <a:rPr lang="es-CO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s-MX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𝐛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</m:oMath>
                  </m:oMathPara>
                </a14:m>
                <a:endParaRPr lang="es-CO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ángulo 15">
                <a:extLst>
                  <a:ext uri="{FF2B5EF4-FFF2-40B4-BE49-F238E27FC236}">
                    <a16:creationId xmlns:a16="http://schemas.microsoft.com/office/drawing/2014/main" id="{5DFBBE1F-BEA3-4AF8-BA4B-8DA7A22FFFA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2525" y="2347676"/>
                <a:ext cx="1827808" cy="369332"/>
              </a:xfrm>
              <a:prstGeom prst="rect">
                <a:avLst/>
              </a:prstGeom>
              <a:blipFill>
                <a:blip r:embed="rId13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ángulo 16">
                <a:extLst>
                  <a:ext uri="{FF2B5EF4-FFF2-40B4-BE49-F238E27FC236}">
                    <a16:creationId xmlns:a16="http://schemas.microsoft.com/office/drawing/2014/main" id="{09ED25AE-5C05-4CD5-83D7-557C8331B80A}"/>
                  </a:ext>
                </a:extLst>
              </p:cNvPr>
              <p:cNvSpPr/>
              <p:nvPr/>
            </p:nvSpPr>
            <p:spPr>
              <a:xfrm>
                <a:off x="1835696" y="3212976"/>
                <a:ext cx="1516056" cy="40607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s-MX" b="1" i="1" smtClean="0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 i="0" smtClean="0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𝐝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  <m:sup>
                          <m:r>
                            <a:rPr lang="es-MX" b="1" i="0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𝐓</m:t>
                          </m:r>
                        </m:sup>
                      </m:sSubSup>
                      <m:r>
                        <a:rPr lang="es-MX" b="1" i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s-CO" b="1" i="0" smtClean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es-CO" b="1" i="0" smtClean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𝛟</m:t>
                      </m:r>
                      <m:r>
                        <a:rPr lang="es-CO" b="1" i="0" smtClean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b="1" i="1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b="1">
                              <a:solidFill>
                                <a:schemeClr val="bg1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b="1" dirty="0">
                  <a:solidFill>
                    <a:schemeClr val="bg1">
                      <a:lumMod val="75000"/>
                    </a:schemeClr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7" name="Rectángulo 16">
                <a:extLst>
                  <a:ext uri="{FF2B5EF4-FFF2-40B4-BE49-F238E27FC236}">
                    <a16:creationId xmlns:a16="http://schemas.microsoft.com/office/drawing/2014/main" id="{09ED25AE-5C05-4CD5-83D7-557C8331B80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696" y="3212976"/>
                <a:ext cx="1516056" cy="406073"/>
              </a:xfrm>
              <a:prstGeom prst="rect">
                <a:avLst/>
              </a:prstGeom>
              <a:blipFill>
                <a:blip r:embed="rId14"/>
                <a:stretch>
                  <a:fillRect b="-5970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tángulo 19">
                <a:extLst>
                  <a:ext uri="{FF2B5EF4-FFF2-40B4-BE49-F238E27FC236}">
                    <a16:creationId xmlns:a16="http://schemas.microsoft.com/office/drawing/2014/main" id="{C82CCDAB-F3F4-437A-9C7A-197C39297C03}"/>
                  </a:ext>
                </a:extLst>
              </p:cNvPr>
              <p:cNvSpPr/>
              <p:nvPr/>
            </p:nvSpPr>
            <p:spPr>
              <a:xfrm>
                <a:off x="1313816" y="2725860"/>
                <a:ext cx="1837426" cy="3947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CO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es-CO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CO" b="1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𝐀</m:t>
                              </m:r>
                            </m:e>
                            <m:sub>
                              <m:r>
                                <a:rPr lang="es-CO" b="1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𝐲</m:t>
                              </m:r>
                            </m:sub>
                          </m:sSub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  <m:r>
                            <a:rPr lang="es-CO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𝐁</m:t>
                          </m:r>
                        </m:e>
                        <m:sub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</m:sSub>
                      <m:r>
                        <a:rPr lang="es-CO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s-CO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s-CO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𝐛</m:t>
                          </m:r>
                        </m:e>
                        <m:sub>
                          <m:r>
                            <a:rPr lang="es-CO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</m:sSub>
                    </m:oMath>
                  </m:oMathPara>
                </a14:m>
                <a:endParaRPr lang="es-CO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0" name="Rectángulo 19">
                <a:extLst>
                  <a:ext uri="{FF2B5EF4-FFF2-40B4-BE49-F238E27FC236}">
                    <a16:creationId xmlns:a16="http://schemas.microsoft.com/office/drawing/2014/main" id="{C82CCDAB-F3F4-437A-9C7A-197C39297C0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816" y="2725860"/>
                <a:ext cx="1837426" cy="394788"/>
              </a:xfrm>
              <a:prstGeom prst="rect">
                <a:avLst/>
              </a:prstGeom>
              <a:blipFill>
                <a:blip r:embed="rId15"/>
                <a:stretch>
                  <a:fillRect b="-4615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392123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23</a:t>
            </a:fld>
            <a:endParaRPr lang="es-E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C05FEAE-C72B-4867-A5A2-73840FA33E6D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Outline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868B41B3-E6CB-467B-8AAF-F87BC52A485F}"/>
              </a:ext>
            </a:extLst>
          </p:cNvPr>
          <p:cNvSpPr/>
          <p:nvPr/>
        </p:nvSpPr>
        <p:spPr>
          <a:xfrm>
            <a:off x="359024" y="1558031"/>
            <a:ext cx="8533456" cy="5543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 bi-level features to MIP model of PPPs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ild bi-level alternative formulation</a:t>
            </a: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-level Branch &amp; Bound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ized implementation of Branch &amp; Bound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-level Branch &amp; Cut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ized implementation of Branch &amp; Bound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ection Cuts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nt results</a:t>
            </a:r>
          </a:p>
          <a:p>
            <a:pPr marL="1257300" lvl="2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Aft>
                <a:spcPts val="0"/>
              </a:spcAft>
            </a:pPr>
            <a:endParaRPr lang="es-CO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2322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24</a:t>
            </a:fld>
            <a:endParaRPr lang="es-ES" dirty="0"/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D7601313-ECE0-4249-853D-190EA8C6C534}"/>
              </a:ext>
            </a:extLst>
          </p:cNvPr>
          <p:cNvGrpSpPr/>
          <p:nvPr/>
        </p:nvGrpSpPr>
        <p:grpSpPr>
          <a:xfrm>
            <a:off x="346967" y="2167132"/>
            <a:ext cx="1879450" cy="2870890"/>
            <a:chOff x="346967" y="2167132"/>
            <a:chExt cx="1879450" cy="2870890"/>
          </a:xfrm>
        </p:grpSpPr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081725A7-1D87-4DBA-B10A-840C608417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1984" y="2167132"/>
              <a:ext cx="1754433" cy="2870890"/>
            </a:xfrm>
            <a:prstGeom prst="rect">
              <a:avLst/>
            </a:prstGeom>
          </p:spPr>
        </p:pic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8163CEE8-1B44-4376-94C7-AB7D7DD26E7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6967" y="2541321"/>
              <a:ext cx="504056" cy="847731"/>
            </a:xfrm>
            <a:prstGeom prst="rect">
              <a:avLst/>
            </a:prstGeom>
          </p:spPr>
        </p:pic>
      </p:grpSp>
      <p:grpSp>
        <p:nvGrpSpPr>
          <p:cNvPr id="32" name="Grupo 31">
            <a:extLst>
              <a:ext uri="{FF2B5EF4-FFF2-40B4-BE49-F238E27FC236}">
                <a16:creationId xmlns:a16="http://schemas.microsoft.com/office/drawing/2014/main" id="{153D7470-7E3C-40C7-A9EE-1E0C5C0B0711}"/>
              </a:ext>
            </a:extLst>
          </p:cNvPr>
          <p:cNvGrpSpPr/>
          <p:nvPr/>
        </p:nvGrpSpPr>
        <p:grpSpPr>
          <a:xfrm>
            <a:off x="632870" y="5620937"/>
            <a:ext cx="8240262" cy="669664"/>
            <a:chOff x="979240" y="6356350"/>
            <a:chExt cx="8240262" cy="669664"/>
          </a:xfrm>
        </p:grpSpPr>
        <p:grpSp>
          <p:nvGrpSpPr>
            <p:cNvPr id="14" name="Grupo 13">
              <a:extLst>
                <a:ext uri="{FF2B5EF4-FFF2-40B4-BE49-F238E27FC236}">
                  <a16:creationId xmlns:a16="http://schemas.microsoft.com/office/drawing/2014/main" id="{0D1F07A7-B612-488C-A2EB-5A7FDD84D2EC}"/>
                </a:ext>
              </a:extLst>
            </p:cNvPr>
            <p:cNvGrpSpPr/>
            <p:nvPr/>
          </p:nvGrpSpPr>
          <p:grpSpPr>
            <a:xfrm>
              <a:off x="7755508" y="6379683"/>
              <a:ext cx="1463994" cy="646331"/>
              <a:chOff x="7620000" y="5644568"/>
              <a:chExt cx="1463994" cy="646331"/>
            </a:xfrm>
          </p:grpSpPr>
          <p:sp>
            <p:nvSpPr>
              <p:cNvPr id="12" name="Estrella: 5 puntas 11">
                <a:extLst>
                  <a:ext uri="{FF2B5EF4-FFF2-40B4-BE49-F238E27FC236}">
                    <a16:creationId xmlns:a16="http://schemas.microsoft.com/office/drawing/2014/main" id="{84E48558-86D5-4529-8930-66C6C2AE4758}"/>
                  </a:ext>
                </a:extLst>
              </p:cNvPr>
              <p:cNvSpPr/>
              <p:nvPr/>
            </p:nvSpPr>
            <p:spPr>
              <a:xfrm>
                <a:off x="7620000" y="5766412"/>
                <a:ext cx="361020" cy="365125"/>
              </a:xfrm>
              <a:prstGeom prst="star5">
                <a:avLst>
                  <a:gd name="adj" fmla="val 12806"/>
                  <a:gd name="hf" fmla="val 105146"/>
                  <a:gd name="vf" fmla="val 110557"/>
                </a:avLst>
              </a:prstGeom>
              <a:solidFill>
                <a:srgbClr val="FFC0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  <p:sp>
            <p:nvSpPr>
              <p:cNvPr id="13" name="CuadroTexto 12">
                <a:extLst>
                  <a:ext uri="{FF2B5EF4-FFF2-40B4-BE49-F238E27FC236}">
                    <a16:creationId xmlns:a16="http://schemas.microsoft.com/office/drawing/2014/main" id="{B7297C8E-3557-4D59-B53E-76097C893A7F}"/>
                  </a:ext>
                </a:extLst>
              </p:cNvPr>
              <p:cNvSpPr txBox="1"/>
              <p:nvPr/>
            </p:nvSpPr>
            <p:spPr>
              <a:xfrm>
                <a:off x="8003874" y="5644568"/>
                <a:ext cx="108012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CO" dirty="0" err="1"/>
                  <a:t>Optimal</a:t>
                </a:r>
                <a:r>
                  <a:rPr lang="es-CO" dirty="0"/>
                  <a:t> </a:t>
                </a:r>
                <a:r>
                  <a:rPr lang="es-CO" dirty="0" err="1"/>
                  <a:t>solution</a:t>
                </a:r>
                <a:endParaRPr lang="es-CO" dirty="0"/>
              </a:p>
            </p:txBody>
          </p:sp>
        </p:grpSp>
        <p:grpSp>
          <p:nvGrpSpPr>
            <p:cNvPr id="16" name="Grupo 15">
              <a:extLst>
                <a:ext uri="{FF2B5EF4-FFF2-40B4-BE49-F238E27FC236}">
                  <a16:creationId xmlns:a16="http://schemas.microsoft.com/office/drawing/2014/main" id="{9877D492-B2F5-4F8A-915D-CEC9CEEBC5E7}"/>
                </a:ext>
              </a:extLst>
            </p:cNvPr>
            <p:cNvGrpSpPr/>
            <p:nvPr/>
          </p:nvGrpSpPr>
          <p:grpSpPr>
            <a:xfrm>
              <a:off x="5838816" y="6379683"/>
              <a:ext cx="1936835" cy="646331"/>
              <a:chOff x="4693658" y="5657811"/>
              <a:chExt cx="905750" cy="646331"/>
            </a:xfrm>
          </p:grpSpPr>
          <p:sp>
            <p:nvSpPr>
              <p:cNvPr id="2" name="Diagrama de flujo: proceso 1">
                <a:extLst>
                  <a:ext uri="{FF2B5EF4-FFF2-40B4-BE49-F238E27FC236}">
                    <a16:creationId xmlns:a16="http://schemas.microsoft.com/office/drawing/2014/main" id="{4AF5714D-DDA2-4A96-8D4C-566D1D8DA837}"/>
                  </a:ext>
                </a:extLst>
              </p:cNvPr>
              <p:cNvSpPr/>
              <p:nvPr/>
            </p:nvSpPr>
            <p:spPr>
              <a:xfrm>
                <a:off x="4693658" y="5859721"/>
                <a:ext cx="98196" cy="216024"/>
              </a:xfrm>
              <a:prstGeom prst="flowChartProcess">
                <a:avLst/>
              </a:prstGeom>
              <a:solidFill>
                <a:srgbClr val="00823B"/>
              </a:solidFill>
              <a:ln>
                <a:solidFill>
                  <a:srgbClr val="00823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  <p:sp>
            <p:nvSpPr>
              <p:cNvPr id="15" name="CuadroTexto 14">
                <a:extLst>
                  <a:ext uri="{FF2B5EF4-FFF2-40B4-BE49-F238E27FC236}">
                    <a16:creationId xmlns:a16="http://schemas.microsoft.com/office/drawing/2014/main" id="{26B47A76-5ED6-4FD7-AD74-7C55339BF3FC}"/>
                  </a:ext>
                </a:extLst>
              </p:cNvPr>
              <p:cNvSpPr txBox="1"/>
              <p:nvPr/>
            </p:nvSpPr>
            <p:spPr>
              <a:xfrm>
                <a:off x="4794162" y="5657811"/>
                <a:ext cx="80524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CO" dirty="0" err="1"/>
                  <a:t>Bi-level</a:t>
                </a:r>
                <a:r>
                  <a:rPr lang="es-CO" dirty="0"/>
                  <a:t> </a:t>
                </a:r>
                <a:r>
                  <a:rPr lang="es-CO" dirty="0" err="1"/>
                  <a:t>feasible</a:t>
                </a:r>
                <a:r>
                  <a:rPr lang="es-CO" dirty="0"/>
                  <a:t> </a:t>
                </a:r>
                <a:r>
                  <a:rPr lang="es-CO" dirty="0" err="1"/>
                  <a:t>Integer</a:t>
                </a:r>
                <a:r>
                  <a:rPr lang="es-CO" dirty="0"/>
                  <a:t> </a:t>
                </a:r>
                <a:r>
                  <a:rPr lang="es-CO" dirty="0" err="1"/>
                  <a:t>solution</a:t>
                </a:r>
                <a:endParaRPr lang="es-CO" dirty="0"/>
              </a:p>
            </p:txBody>
          </p:sp>
        </p:grpSp>
        <p:grpSp>
          <p:nvGrpSpPr>
            <p:cNvPr id="23" name="Grupo 22">
              <a:extLst>
                <a:ext uri="{FF2B5EF4-FFF2-40B4-BE49-F238E27FC236}">
                  <a16:creationId xmlns:a16="http://schemas.microsoft.com/office/drawing/2014/main" id="{E28178A2-8EF9-46A7-9BDF-78BED54A5048}"/>
                </a:ext>
              </a:extLst>
            </p:cNvPr>
            <p:cNvGrpSpPr/>
            <p:nvPr/>
          </p:nvGrpSpPr>
          <p:grpSpPr>
            <a:xfrm>
              <a:off x="3745096" y="6367718"/>
              <a:ext cx="2088785" cy="646331"/>
              <a:chOff x="3673015" y="5625808"/>
              <a:chExt cx="2088785" cy="646331"/>
            </a:xfrm>
          </p:grpSpPr>
          <p:sp>
            <p:nvSpPr>
              <p:cNvPr id="24" name="Diagrama de flujo: conector 23">
                <a:extLst>
                  <a:ext uri="{FF2B5EF4-FFF2-40B4-BE49-F238E27FC236}">
                    <a16:creationId xmlns:a16="http://schemas.microsoft.com/office/drawing/2014/main" id="{20E1CB6D-3E38-4CE7-B0A4-3BD97D873BC1}"/>
                  </a:ext>
                </a:extLst>
              </p:cNvPr>
              <p:cNvSpPr/>
              <p:nvPr/>
            </p:nvSpPr>
            <p:spPr>
              <a:xfrm>
                <a:off x="3673015" y="5819959"/>
                <a:ext cx="216024" cy="216024"/>
              </a:xfrm>
              <a:prstGeom prst="flowChartConnector">
                <a:avLst/>
              </a:prstGeom>
              <a:solidFill>
                <a:srgbClr val="00823B"/>
              </a:solidFill>
              <a:ln>
                <a:solidFill>
                  <a:srgbClr val="00823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  <p:sp>
            <p:nvSpPr>
              <p:cNvPr id="25" name="CuadroTexto 24">
                <a:extLst>
                  <a:ext uri="{FF2B5EF4-FFF2-40B4-BE49-F238E27FC236}">
                    <a16:creationId xmlns:a16="http://schemas.microsoft.com/office/drawing/2014/main" id="{89902E76-30D9-4929-BA2B-1950B1733DB6}"/>
                  </a:ext>
                </a:extLst>
              </p:cNvPr>
              <p:cNvSpPr txBox="1"/>
              <p:nvPr/>
            </p:nvSpPr>
            <p:spPr>
              <a:xfrm>
                <a:off x="3857891" y="5625808"/>
                <a:ext cx="190390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CO" dirty="0" err="1"/>
                  <a:t>Bi-level</a:t>
                </a:r>
                <a:r>
                  <a:rPr lang="es-CO" dirty="0"/>
                  <a:t> </a:t>
                </a:r>
                <a:r>
                  <a:rPr lang="es-CO" dirty="0" err="1"/>
                  <a:t>infeasible</a:t>
                </a:r>
                <a:r>
                  <a:rPr lang="es-CO" dirty="0"/>
                  <a:t> </a:t>
                </a:r>
                <a:r>
                  <a:rPr lang="es-CO" dirty="0" err="1"/>
                  <a:t>Integer</a:t>
                </a:r>
                <a:r>
                  <a:rPr lang="es-CO" dirty="0"/>
                  <a:t> </a:t>
                </a:r>
                <a:r>
                  <a:rPr lang="es-CO" dirty="0" err="1"/>
                  <a:t>solution</a:t>
                </a:r>
                <a:endParaRPr lang="es-CO" dirty="0"/>
              </a:p>
            </p:txBody>
          </p:sp>
        </p:grpSp>
        <p:grpSp>
          <p:nvGrpSpPr>
            <p:cNvPr id="26" name="Grupo 25">
              <a:extLst>
                <a:ext uri="{FF2B5EF4-FFF2-40B4-BE49-F238E27FC236}">
                  <a16:creationId xmlns:a16="http://schemas.microsoft.com/office/drawing/2014/main" id="{E2D4D0E9-72CF-49E0-AED8-63039A1534EF}"/>
                </a:ext>
              </a:extLst>
            </p:cNvPr>
            <p:cNvGrpSpPr/>
            <p:nvPr/>
          </p:nvGrpSpPr>
          <p:grpSpPr>
            <a:xfrm>
              <a:off x="2356763" y="6356350"/>
              <a:ext cx="2111305" cy="646331"/>
              <a:chOff x="2542569" y="5648335"/>
              <a:chExt cx="2111305" cy="646331"/>
            </a:xfrm>
          </p:grpSpPr>
          <p:sp>
            <p:nvSpPr>
              <p:cNvPr id="27" name="Diagrama de flujo: conector 26">
                <a:extLst>
                  <a:ext uri="{FF2B5EF4-FFF2-40B4-BE49-F238E27FC236}">
                    <a16:creationId xmlns:a16="http://schemas.microsoft.com/office/drawing/2014/main" id="{8E09EAE4-1FDC-49A1-8516-5FC555EEDEA6}"/>
                  </a:ext>
                </a:extLst>
              </p:cNvPr>
              <p:cNvSpPr/>
              <p:nvPr/>
            </p:nvSpPr>
            <p:spPr>
              <a:xfrm>
                <a:off x="2542569" y="5831327"/>
                <a:ext cx="216024" cy="216024"/>
              </a:xfrm>
              <a:prstGeom prst="flowChartConnector">
                <a:avLst/>
              </a:prstGeom>
              <a:solidFill>
                <a:srgbClr val="2FC1D5"/>
              </a:solidFill>
              <a:ln>
                <a:solidFill>
                  <a:srgbClr val="2FC1D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  <p:sp>
            <p:nvSpPr>
              <p:cNvPr id="28" name="CuadroTexto 27">
                <a:extLst>
                  <a:ext uri="{FF2B5EF4-FFF2-40B4-BE49-F238E27FC236}">
                    <a16:creationId xmlns:a16="http://schemas.microsoft.com/office/drawing/2014/main" id="{D90580A6-154F-460F-AE94-615BB32EE445}"/>
                  </a:ext>
                </a:extLst>
              </p:cNvPr>
              <p:cNvSpPr txBox="1"/>
              <p:nvPr/>
            </p:nvSpPr>
            <p:spPr>
              <a:xfrm>
                <a:off x="2749965" y="5648335"/>
                <a:ext cx="190390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CO" dirty="0" err="1"/>
                  <a:t>Fractional</a:t>
                </a:r>
                <a:r>
                  <a:rPr lang="es-CO" dirty="0"/>
                  <a:t> </a:t>
                </a:r>
                <a:r>
                  <a:rPr lang="es-CO" dirty="0" err="1"/>
                  <a:t>solution</a:t>
                </a:r>
                <a:endParaRPr lang="es-CO" dirty="0"/>
              </a:p>
            </p:txBody>
          </p:sp>
        </p:grpSp>
        <p:grpSp>
          <p:nvGrpSpPr>
            <p:cNvPr id="29" name="Grupo 28">
              <a:extLst>
                <a:ext uri="{FF2B5EF4-FFF2-40B4-BE49-F238E27FC236}">
                  <a16:creationId xmlns:a16="http://schemas.microsoft.com/office/drawing/2014/main" id="{2BE0BEDA-2A0F-4B8E-9F80-2EF6D9962928}"/>
                </a:ext>
              </a:extLst>
            </p:cNvPr>
            <p:cNvGrpSpPr/>
            <p:nvPr/>
          </p:nvGrpSpPr>
          <p:grpSpPr>
            <a:xfrm>
              <a:off x="979240" y="6356350"/>
              <a:ext cx="1354669" cy="646331"/>
              <a:chOff x="359532" y="5625808"/>
              <a:chExt cx="1354669" cy="646331"/>
            </a:xfrm>
          </p:grpSpPr>
          <p:sp>
            <p:nvSpPr>
              <p:cNvPr id="30" name="Diagrama de flujo: conector 29">
                <a:extLst>
                  <a:ext uri="{FF2B5EF4-FFF2-40B4-BE49-F238E27FC236}">
                    <a16:creationId xmlns:a16="http://schemas.microsoft.com/office/drawing/2014/main" id="{46718506-297C-436E-9CE9-498F2B1A9A5C}"/>
                  </a:ext>
                </a:extLst>
              </p:cNvPr>
              <p:cNvSpPr/>
              <p:nvPr/>
            </p:nvSpPr>
            <p:spPr>
              <a:xfrm>
                <a:off x="359532" y="5808800"/>
                <a:ext cx="216024" cy="216024"/>
              </a:xfrm>
              <a:prstGeom prst="flowChartConnector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  <p:sp>
            <p:nvSpPr>
              <p:cNvPr id="31" name="CuadroTexto 30">
                <a:extLst>
                  <a:ext uri="{FF2B5EF4-FFF2-40B4-BE49-F238E27FC236}">
                    <a16:creationId xmlns:a16="http://schemas.microsoft.com/office/drawing/2014/main" id="{F3E19034-1014-4A67-B271-6195A59B25F4}"/>
                  </a:ext>
                </a:extLst>
              </p:cNvPr>
              <p:cNvSpPr txBox="1"/>
              <p:nvPr/>
            </p:nvSpPr>
            <p:spPr>
              <a:xfrm>
                <a:off x="575557" y="5625808"/>
                <a:ext cx="1138644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CO" dirty="0"/>
                  <a:t>HPR </a:t>
                </a:r>
                <a:r>
                  <a:rPr lang="es-CO" dirty="0" err="1"/>
                  <a:t>infeasible</a:t>
                </a:r>
                <a:endParaRPr lang="es-CO" dirty="0"/>
              </a:p>
            </p:txBody>
          </p:sp>
        </p:grpSp>
      </p:grpSp>
      <p:sp>
        <p:nvSpPr>
          <p:cNvPr id="34" name="CuadroTexto 33">
            <a:extLst>
              <a:ext uri="{FF2B5EF4-FFF2-40B4-BE49-F238E27FC236}">
                <a16:creationId xmlns:a16="http://schemas.microsoft.com/office/drawing/2014/main" id="{7CAE575C-A5E3-42AA-9228-2007872E27E9}"/>
              </a:ext>
            </a:extLst>
          </p:cNvPr>
          <p:cNvSpPr txBox="1"/>
          <p:nvPr/>
        </p:nvSpPr>
        <p:spPr>
          <a:xfrm>
            <a:off x="283940" y="1412776"/>
            <a:ext cx="8259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.g., Instance 4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5B8979E-EC0D-4FED-A77F-84AEEDFC57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56209" y="1732453"/>
            <a:ext cx="5416923" cy="3585414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AD2D85EE-795E-4B93-A51E-876D59EE7C5C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ranch &amp; Bound</a:t>
            </a:r>
          </a:p>
        </p:txBody>
      </p:sp>
    </p:spTree>
    <p:extLst>
      <p:ext uri="{BB962C8B-B14F-4D97-AF65-F5344CB8AC3E}">
        <p14:creationId xmlns:p14="http://schemas.microsoft.com/office/powerpoint/2010/main" val="14516858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25</a:t>
            </a:fld>
            <a:endParaRPr lang="es-E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C05FEAE-C72B-4867-A5A2-73840FA33E6D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Outline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868B41B3-E6CB-467B-8AAF-F87BC52A485F}"/>
              </a:ext>
            </a:extLst>
          </p:cNvPr>
          <p:cNvSpPr/>
          <p:nvPr/>
        </p:nvSpPr>
        <p:spPr>
          <a:xfrm>
            <a:off x="359024" y="1558031"/>
            <a:ext cx="8533456" cy="5543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 bi-level features to MIP model of PPPs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ild bi-level alternative formulation</a:t>
            </a: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-level Branch &amp; Bound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ized implementation of Branch &amp; Bound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-level Branch &amp; Cut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ized implementation of Branch &amp; Bound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ection Cuts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play results</a:t>
            </a:r>
          </a:p>
          <a:p>
            <a:pPr marL="1257300" lvl="2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Aft>
                <a:spcPts val="0"/>
              </a:spcAft>
            </a:pPr>
            <a:endParaRPr lang="es-CO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14844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E8E679D-9E84-443D-BBEA-7906DC3B3B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0657" y="1289539"/>
            <a:ext cx="6342686" cy="4996759"/>
          </a:xfrm>
          <a:prstGeom prst="rect">
            <a:avLst/>
          </a:prstGeom>
        </p:spPr>
      </p:pic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26</a:t>
            </a:fld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407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orti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al. (2014)</a:t>
            </a:r>
            <a:endParaRPr lang="es-CO" sz="1100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E51E4DA-6D06-453A-A197-9070A9B3362D}"/>
              </a:ext>
            </a:extLst>
          </p:cNvPr>
          <p:cNvSpPr/>
          <p:nvPr/>
        </p:nvSpPr>
        <p:spPr>
          <a:xfrm>
            <a:off x="5220072" y="4365104"/>
            <a:ext cx="2376264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5E2BA379-B344-491C-8923-D981BC3B87D1}"/>
              </a:ext>
            </a:extLst>
          </p:cNvPr>
          <p:cNvSpPr/>
          <p:nvPr/>
        </p:nvSpPr>
        <p:spPr>
          <a:xfrm>
            <a:off x="1982887" y="4039592"/>
            <a:ext cx="1224136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2C504F82-3A90-432F-9671-E5A2228A28B2}"/>
              </a:ext>
            </a:extLst>
          </p:cNvPr>
          <p:cNvSpPr/>
          <p:nvPr/>
        </p:nvSpPr>
        <p:spPr>
          <a:xfrm>
            <a:off x="2771800" y="4831680"/>
            <a:ext cx="1224136" cy="9015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A7D5726E-65C9-44EF-8DF3-9C64930ADCD8}"/>
              </a:ext>
            </a:extLst>
          </p:cNvPr>
          <p:cNvSpPr/>
          <p:nvPr/>
        </p:nvSpPr>
        <p:spPr>
          <a:xfrm>
            <a:off x="3881480" y="4278638"/>
            <a:ext cx="978551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67DEEA9C-948B-4858-A047-36328EB60A69}"/>
              </a:ext>
            </a:extLst>
          </p:cNvPr>
          <p:cNvSpPr/>
          <p:nvPr/>
        </p:nvSpPr>
        <p:spPr>
          <a:xfrm>
            <a:off x="4712843" y="3969060"/>
            <a:ext cx="1224136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17688A0E-3418-49C4-A112-A86C7CE28E56}"/>
              </a:ext>
            </a:extLst>
          </p:cNvPr>
          <p:cNvSpPr/>
          <p:nvPr/>
        </p:nvSpPr>
        <p:spPr>
          <a:xfrm>
            <a:off x="2519772" y="3216520"/>
            <a:ext cx="504056" cy="54006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3125E40E-3D9B-4D3B-8E53-45F4469750B3}"/>
              </a:ext>
            </a:extLst>
          </p:cNvPr>
          <p:cNvSpPr/>
          <p:nvPr/>
        </p:nvSpPr>
        <p:spPr>
          <a:xfrm>
            <a:off x="2273228" y="3868632"/>
            <a:ext cx="687252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FA405B91-2425-433C-BB9E-237497678573}"/>
              </a:ext>
            </a:extLst>
          </p:cNvPr>
          <p:cNvSpPr/>
          <p:nvPr/>
        </p:nvSpPr>
        <p:spPr>
          <a:xfrm>
            <a:off x="2951821" y="4474416"/>
            <a:ext cx="674553" cy="46931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EC72D223-D5CC-4523-B139-A73FC8335C45}"/>
              </a:ext>
            </a:extLst>
          </p:cNvPr>
          <p:cNvSpPr/>
          <p:nvPr/>
        </p:nvSpPr>
        <p:spPr>
          <a:xfrm>
            <a:off x="2616854" y="4911644"/>
            <a:ext cx="1224136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AE3BB7EE-EB72-4F88-BC4E-7F7CEF26574E}"/>
              </a:ext>
            </a:extLst>
          </p:cNvPr>
          <p:cNvSpPr/>
          <p:nvPr/>
        </p:nvSpPr>
        <p:spPr>
          <a:xfrm>
            <a:off x="1982886" y="4199717"/>
            <a:ext cx="893695" cy="74401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D893F967-8BE7-41DB-AB01-541DE2D7E5A9}"/>
              </a:ext>
            </a:extLst>
          </p:cNvPr>
          <p:cNvSpPr/>
          <p:nvPr/>
        </p:nvSpPr>
        <p:spPr>
          <a:xfrm>
            <a:off x="2832850" y="3390462"/>
            <a:ext cx="255259" cy="4628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id="{43D4C233-8AB0-4EB5-94B1-74C3EF77D8B8}"/>
              </a:ext>
            </a:extLst>
          </p:cNvPr>
          <p:cNvSpPr/>
          <p:nvPr/>
        </p:nvSpPr>
        <p:spPr>
          <a:xfrm rot="20441106">
            <a:off x="3142212" y="2949751"/>
            <a:ext cx="527521" cy="12111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8A06B835-8BD6-45AE-A7EC-D02F84A1369A}"/>
              </a:ext>
            </a:extLst>
          </p:cNvPr>
          <p:cNvSpPr/>
          <p:nvPr/>
        </p:nvSpPr>
        <p:spPr>
          <a:xfrm>
            <a:off x="3938390" y="4142126"/>
            <a:ext cx="1182516" cy="50907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8CD05479-849A-41C8-AA9C-47D083A9BEBC}"/>
              </a:ext>
            </a:extLst>
          </p:cNvPr>
          <p:cNvSpPr/>
          <p:nvPr/>
        </p:nvSpPr>
        <p:spPr>
          <a:xfrm rot="20830345">
            <a:off x="3530467" y="3917569"/>
            <a:ext cx="992682" cy="25182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005831DD-2E98-468E-988B-3AF849F8E650}"/>
              </a:ext>
            </a:extLst>
          </p:cNvPr>
          <p:cNvSpPr/>
          <p:nvPr/>
        </p:nvSpPr>
        <p:spPr>
          <a:xfrm rot="2288032">
            <a:off x="3456778" y="3861453"/>
            <a:ext cx="519283" cy="17540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DAAB0B92-D144-42F9-BF26-802CB57285A6}"/>
              </a:ext>
            </a:extLst>
          </p:cNvPr>
          <p:cNvSpPr/>
          <p:nvPr/>
        </p:nvSpPr>
        <p:spPr>
          <a:xfrm>
            <a:off x="3513644" y="3657466"/>
            <a:ext cx="279551" cy="20364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A690A854-2734-4107-8600-6512F74CB373}"/>
              </a:ext>
            </a:extLst>
          </p:cNvPr>
          <p:cNvSpPr/>
          <p:nvPr/>
        </p:nvSpPr>
        <p:spPr>
          <a:xfrm>
            <a:off x="4205738" y="3939474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F53E0E86-7A31-4D95-AC08-DA76BE85A82C}"/>
              </a:ext>
            </a:extLst>
          </p:cNvPr>
          <p:cNvSpPr/>
          <p:nvPr/>
        </p:nvSpPr>
        <p:spPr>
          <a:xfrm>
            <a:off x="4447058" y="3876262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1F66964C-EE17-4B4C-B2DB-EB1A7BAD17AB}"/>
              </a:ext>
            </a:extLst>
          </p:cNvPr>
          <p:cNvSpPr/>
          <p:nvPr/>
        </p:nvSpPr>
        <p:spPr>
          <a:xfrm>
            <a:off x="4336105" y="3900758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id="{952725CE-34F6-426E-B451-E7E48653367E}"/>
              </a:ext>
            </a:extLst>
          </p:cNvPr>
          <p:cNvSpPr/>
          <p:nvPr/>
        </p:nvSpPr>
        <p:spPr>
          <a:xfrm>
            <a:off x="3925836" y="3876262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id="{E1BBF65E-9D97-4B2A-A8BE-CCD0247DD8F3}"/>
              </a:ext>
            </a:extLst>
          </p:cNvPr>
          <p:cNvSpPr/>
          <p:nvPr/>
        </p:nvSpPr>
        <p:spPr>
          <a:xfrm>
            <a:off x="6587915" y="3497762"/>
            <a:ext cx="895660" cy="50907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4" name="Elipse 43">
            <a:extLst>
              <a:ext uri="{FF2B5EF4-FFF2-40B4-BE49-F238E27FC236}">
                <a16:creationId xmlns:a16="http://schemas.microsoft.com/office/drawing/2014/main" id="{E7E1F5DB-B65D-4A3B-B735-44ABF31A76A7}"/>
              </a:ext>
            </a:extLst>
          </p:cNvPr>
          <p:cNvSpPr/>
          <p:nvPr/>
        </p:nvSpPr>
        <p:spPr>
          <a:xfrm>
            <a:off x="2147384" y="1411145"/>
            <a:ext cx="282349" cy="51171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4AA5FAFC-480A-42A1-B00B-BE118A953416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ranch &amp; Cut</a:t>
            </a:r>
          </a:p>
        </p:txBody>
      </p:sp>
    </p:spTree>
    <p:extLst>
      <p:ext uri="{BB962C8B-B14F-4D97-AF65-F5344CB8AC3E}">
        <p14:creationId xmlns:p14="http://schemas.microsoft.com/office/powerpoint/2010/main" val="42270352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E8E679D-9E84-443D-BBEA-7906DC3B3B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0657" y="1289539"/>
            <a:ext cx="6342686" cy="4996759"/>
          </a:xfrm>
          <a:prstGeom prst="rect">
            <a:avLst/>
          </a:prstGeom>
        </p:spPr>
      </p:pic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27</a:t>
            </a:fld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407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orti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al. (2014)</a:t>
            </a:r>
            <a:endParaRPr lang="es-CO" sz="1100" dirty="0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5E2BA379-B344-491C-8923-D981BC3B87D1}"/>
              </a:ext>
            </a:extLst>
          </p:cNvPr>
          <p:cNvSpPr/>
          <p:nvPr/>
        </p:nvSpPr>
        <p:spPr>
          <a:xfrm>
            <a:off x="1982887" y="4039592"/>
            <a:ext cx="1224136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2C504F82-3A90-432F-9671-E5A2228A28B2}"/>
              </a:ext>
            </a:extLst>
          </p:cNvPr>
          <p:cNvSpPr/>
          <p:nvPr/>
        </p:nvSpPr>
        <p:spPr>
          <a:xfrm>
            <a:off x="2771800" y="4831680"/>
            <a:ext cx="1224136" cy="9015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A7D5726E-65C9-44EF-8DF3-9C64930ADCD8}"/>
              </a:ext>
            </a:extLst>
          </p:cNvPr>
          <p:cNvSpPr/>
          <p:nvPr/>
        </p:nvSpPr>
        <p:spPr>
          <a:xfrm>
            <a:off x="3881480" y="4278638"/>
            <a:ext cx="978551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17688A0E-3418-49C4-A112-A86C7CE28E56}"/>
              </a:ext>
            </a:extLst>
          </p:cNvPr>
          <p:cNvSpPr/>
          <p:nvPr/>
        </p:nvSpPr>
        <p:spPr>
          <a:xfrm>
            <a:off x="2519772" y="3216520"/>
            <a:ext cx="504056" cy="54006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3125E40E-3D9B-4D3B-8E53-45F4469750B3}"/>
              </a:ext>
            </a:extLst>
          </p:cNvPr>
          <p:cNvSpPr/>
          <p:nvPr/>
        </p:nvSpPr>
        <p:spPr>
          <a:xfrm>
            <a:off x="2273228" y="3868632"/>
            <a:ext cx="687252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FA405B91-2425-433C-BB9E-237497678573}"/>
              </a:ext>
            </a:extLst>
          </p:cNvPr>
          <p:cNvSpPr/>
          <p:nvPr/>
        </p:nvSpPr>
        <p:spPr>
          <a:xfrm>
            <a:off x="2951821" y="4474416"/>
            <a:ext cx="674553" cy="46931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EC72D223-D5CC-4523-B139-A73FC8335C45}"/>
              </a:ext>
            </a:extLst>
          </p:cNvPr>
          <p:cNvSpPr/>
          <p:nvPr/>
        </p:nvSpPr>
        <p:spPr>
          <a:xfrm>
            <a:off x="2616854" y="4911644"/>
            <a:ext cx="1224136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AE3BB7EE-EB72-4F88-BC4E-7F7CEF26574E}"/>
              </a:ext>
            </a:extLst>
          </p:cNvPr>
          <p:cNvSpPr/>
          <p:nvPr/>
        </p:nvSpPr>
        <p:spPr>
          <a:xfrm>
            <a:off x="1982886" y="4199717"/>
            <a:ext cx="893695" cy="74401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D893F967-8BE7-41DB-AB01-541DE2D7E5A9}"/>
              </a:ext>
            </a:extLst>
          </p:cNvPr>
          <p:cNvSpPr/>
          <p:nvPr/>
        </p:nvSpPr>
        <p:spPr>
          <a:xfrm>
            <a:off x="2832850" y="3390462"/>
            <a:ext cx="255259" cy="4628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id="{43D4C233-8AB0-4EB5-94B1-74C3EF77D8B8}"/>
              </a:ext>
            </a:extLst>
          </p:cNvPr>
          <p:cNvSpPr/>
          <p:nvPr/>
        </p:nvSpPr>
        <p:spPr>
          <a:xfrm rot="20441106">
            <a:off x="3142212" y="2949751"/>
            <a:ext cx="527521" cy="12111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8A06B835-8BD6-45AE-A7EC-D02F84A1369A}"/>
              </a:ext>
            </a:extLst>
          </p:cNvPr>
          <p:cNvSpPr/>
          <p:nvPr/>
        </p:nvSpPr>
        <p:spPr>
          <a:xfrm>
            <a:off x="3938390" y="4142126"/>
            <a:ext cx="1182516" cy="50907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8CD05479-849A-41C8-AA9C-47D083A9BEBC}"/>
              </a:ext>
            </a:extLst>
          </p:cNvPr>
          <p:cNvSpPr/>
          <p:nvPr/>
        </p:nvSpPr>
        <p:spPr>
          <a:xfrm rot="20830345">
            <a:off x="3530467" y="3917569"/>
            <a:ext cx="992682" cy="25182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005831DD-2E98-468E-988B-3AF849F8E650}"/>
              </a:ext>
            </a:extLst>
          </p:cNvPr>
          <p:cNvSpPr/>
          <p:nvPr/>
        </p:nvSpPr>
        <p:spPr>
          <a:xfrm rot="2288032">
            <a:off x="3456778" y="3861453"/>
            <a:ext cx="519283" cy="17540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DAAB0B92-D144-42F9-BF26-802CB57285A6}"/>
              </a:ext>
            </a:extLst>
          </p:cNvPr>
          <p:cNvSpPr/>
          <p:nvPr/>
        </p:nvSpPr>
        <p:spPr>
          <a:xfrm>
            <a:off x="3513644" y="3657466"/>
            <a:ext cx="279551" cy="20364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A690A854-2734-4107-8600-6512F74CB373}"/>
              </a:ext>
            </a:extLst>
          </p:cNvPr>
          <p:cNvSpPr/>
          <p:nvPr/>
        </p:nvSpPr>
        <p:spPr>
          <a:xfrm>
            <a:off x="4205738" y="3939474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F53E0E86-7A31-4D95-AC08-DA76BE85A82C}"/>
              </a:ext>
            </a:extLst>
          </p:cNvPr>
          <p:cNvSpPr/>
          <p:nvPr/>
        </p:nvSpPr>
        <p:spPr>
          <a:xfrm>
            <a:off x="4447058" y="3876262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1F66964C-EE17-4B4C-B2DB-EB1A7BAD17AB}"/>
              </a:ext>
            </a:extLst>
          </p:cNvPr>
          <p:cNvSpPr/>
          <p:nvPr/>
        </p:nvSpPr>
        <p:spPr>
          <a:xfrm>
            <a:off x="4336105" y="3900758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id="{952725CE-34F6-426E-B451-E7E48653367E}"/>
              </a:ext>
            </a:extLst>
          </p:cNvPr>
          <p:cNvSpPr/>
          <p:nvPr/>
        </p:nvSpPr>
        <p:spPr>
          <a:xfrm>
            <a:off x="3925836" y="3876262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id="{E1BBF65E-9D97-4B2A-A8BE-CCD0247DD8F3}"/>
              </a:ext>
            </a:extLst>
          </p:cNvPr>
          <p:cNvSpPr/>
          <p:nvPr/>
        </p:nvSpPr>
        <p:spPr>
          <a:xfrm>
            <a:off x="6587915" y="3497762"/>
            <a:ext cx="895660" cy="50907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4" name="Elipse 43">
            <a:extLst>
              <a:ext uri="{FF2B5EF4-FFF2-40B4-BE49-F238E27FC236}">
                <a16:creationId xmlns:a16="http://schemas.microsoft.com/office/drawing/2014/main" id="{E7E1F5DB-B65D-4A3B-B735-44ABF31A76A7}"/>
              </a:ext>
            </a:extLst>
          </p:cNvPr>
          <p:cNvSpPr/>
          <p:nvPr/>
        </p:nvSpPr>
        <p:spPr>
          <a:xfrm>
            <a:off x="2147384" y="1411145"/>
            <a:ext cx="282349" cy="51171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52" name="Conector recto de flecha 51">
            <a:extLst>
              <a:ext uri="{FF2B5EF4-FFF2-40B4-BE49-F238E27FC236}">
                <a16:creationId xmlns:a16="http://schemas.microsoft.com/office/drawing/2014/main" id="{EDBB5EFA-D2DC-4504-8817-AA04AD88B279}"/>
              </a:ext>
            </a:extLst>
          </p:cNvPr>
          <p:cNvCxnSpPr>
            <a:cxnSpLocks/>
          </p:cNvCxnSpPr>
          <p:nvPr/>
        </p:nvCxnSpPr>
        <p:spPr>
          <a:xfrm flipH="1" flipV="1">
            <a:off x="2520800" y="1406293"/>
            <a:ext cx="781504" cy="2870159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 w="lg" len="lg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de flecha 52">
            <a:extLst>
              <a:ext uri="{FF2B5EF4-FFF2-40B4-BE49-F238E27FC236}">
                <a16:creationId xmlns:a16="http://schemas.microsoft.com/office/drawing/2014/main" id="{3E382068-7ED3-4C78-8965-403524004854}"/>
              </a:ext>
            </a:extLst>
          </p:cNvPr>
          <p:cNvCxnSpPr>
            <a:cxnSpLocks/>
          </p:cNvCxnSpPr>
          <p:nvPr/>
        </p:nvCxnSpPr>
        <p:spPr>
          <a:xfrm flipV="1">
            <a:off x="3415479" y="3585547"/>
            <a:ext cx="3153791" cy="765041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 w="lg" len="lg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4" name="Rectángulo 53">
            <a:extLst>
              <a:ext uri="{FF2B5EF4-FFF2-40B4-BE49-F238E27FC236}">
                <a16:creationId xmlns:a16="http://schemas.microsoft.com/office/drawing/2014/main" id="{16D3D2D5-BED6-47E3-BBC3-2C4B600CDC91}"/>
              </a:ext>
            </a:extLst>
          </p:cNvPr>
          <p:cNvSpPr/>
          <p:nvPr/>
        </p:nvSpPr>
        <p:spPr>
          <a:xfrm>
            <a:off x="6116753" y="1696016"/>
            <a:ext cx="2928879" cy="95410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accent6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xtreme </a:t>
            </a:r>
            <a:r>
              <a:rPr lang="es-ES" sz="2800" b="0" cap="none" spc="0" dirty="0" err="1">
                <a:ln w="0"/>
                <a:solidFill>
                  <a:schemeClr val="accent6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ays</a:t>
            </a:r>
            <a:r>
              <a:rPr lang="es-ES" sz="2800" dirty="0">
                <a:ln w="0"/>
                <a:solidFill>
                  <a:schemeClr val="accent6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 </a:t>
            </a:r>
          </a:p>
          <a:p>
            <a:pPr algn="ctr"/>
            <a:r>
              <a:rPr lang="es-ES" sz="2800" dirty="0" err="1">
                <a:ln w="0"/>
                <a:solidFill>
                  <a:schemeClr val="accent6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rner</a:t>
            </a:r>
            <a:r>
              <a:rPr lang="es-ES" sz="2800" dirty="0">
                <a:ln w="0"/>
                <a:solidFill>
                  <a:schemeClr val="accent6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s-ES" sz="2800" dirty="0" err="1">
                <a:ln w="0"/>
                <a:solidFill>
                  <a:schemeClr val="accent6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olyhedron</a:t>
            </a:r>
            <a:endParaRPr lang="es-ES" sz="2800" b="0" cap="none" spc="0" dirty="0">
              <a:ln w="0"/>
              <a:solidFill>
                <a:schemeClr val="accent6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C4642536-E4F1-4300-87EA-E07C0C5528CC}"/>
              </a:ext>
            </a:extLst>
          </p:cNvPr>
          <p:cNvSpPr/>
          <p:nvPr/>
        </p:nvSpPr>
        <p:spPr>
          <a:xfrm>
            <a:off x="4860031" y="4365103"/>
            <a:ext cx="2736305" cy="3668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6CC795F-996F-468D-9136-443E1A7BD3A3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ranch &amp; Cut</a:t>
            </a:r>
          </a:p>
        </p:txBody>
      </p:sp>
    </p:spTree>
    <p:extLst>
      <p:ext uri="{BB962C8B-B14F-4D97-AF65-F5344CB8AC3E}">
        <p14:creationId xmlns:p14="http://schemas.microsoft.com/office/powerpoint/2010/main" val="30834891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E8E679D-9E84-443D-BBEA-7906DC3B3B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0657" y="1289539"/>
            <a:ext cx="6342686" cy="4996759"/>
          </a:xfrm>
          <a:prstGeom prst="rect">
            <a:avLst/>
          </a:prstGeom>
        </p:spPr>
      </p:pic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28</a:t>
            </a:fld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407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orti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al. (2014)</a:t>
            </a:r>
            <a:endParaRPr lang="es-CO" sz="1100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E51E4DA-6D06-453A-A197-9070A9B3362D}"/>
              </a:ext>
            </a:extLst>
          </p:cNvPr>
          <p:cNvSpPr/>
          <p:nvPr/>
        </p:nvSpPr>
        <p:spPr>
          <a:xfrm>
            <a:off x="5220072" y="4365104"/>
            <a:ext cx="2376264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5E2BA379-B344-491C-8923-D981BC3B87D1}"/>
              </a:ext>
            </a:extLst>
          </p:cNvPr>
          <p:cNvSpPr/>
          <p:nvPr/>
        </p:nvSpPr>
        <p:spPr>
          <a:xfrm>
            <a:off x="1982887" y="4039592"/>
            <a:ext cx="1224136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2C504F82-3A90-432F-9671-E5A2228A28B2}"/>
              </a:ext>
            </a:extLst>
          </p:cNvPr>
          <p:cNvSpPr/>
          <p:nvPr/>
        </p:nvSpPr>
        <p:spPr>
          <a:xfrm>
            <a:off x="2771800" y="4831680"/>
            <a:ext cx="1224136" cy="90157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A7D5726E-65C9-44EF-8DF3-9C64930ADCD8}"/>
              </a:ext>
            </a:extLst>
          </p:cNvPr>
          <p:cNvSpPr/>
          <p:nvPr/>
        </p:nvSpPr>
        <p:spPr>
          <a:xfrm>
            <a:off x="3881480" y="4278638"/>
            <a:ext cx="978551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67DEEA9C-948B-4858-A047-36328EB60A69}"/>
              </a:ext>
            </a:extLst>
          </p:cNvPr>
          <p:cNvSpPr/>
          <p:nvPr/>
        </p:nvSpPr>
        <p:spPr>
          <a:xfrm>
            <a:off x="4712843" y="3969060"/>
            <a:ext cx="1224136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17688A0E-3418-49C4-A112-A86C7CE28E56}"/>
              </a:ext>
            </a:extLst>
          </p:cNvPr>
          <p:cNvSpPr/>
          <p:nvPr/>
        </p:nvSpPr>
        <p:spPr>
          <a:xfrm>
            <a:off x="2483768" y="3320988"/>
            <a:ext cx="504056" cy="54006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3125E40E-3D9B-4D3B-8E53-45F4469750B3}"/>
              </a:ext>
            </a:extLst>
          </p:cNvPr>
          <p:cNvSpPr/>
          <p:nvPr/>
        </p:nvSpPr>
        <p:spPr>
          <a:xfrm>
            <a:off x="2273228" y="3868632"/>
            <a:ext cx="687252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FA405B91-2425-433C-BB9E-237497678573}"/>
              </a:ext>
            </a:extLst>
          </p:cNvPr>
          <p:cNvSpPr/>
          <p:nvPr/>
        </p:nvSpPr>
        <p:spPr>
          <a:xfrm>
            <a:off x="2951821" y="4474416"/>
            <a:ext cx="674553" cy="46931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EC72D223-D5CC-4523-B139-A73FC8335C45}"/>
              </a:ext>
            </a:extLst>
          </p:cNvPr>
          <p:cNvSpPr/>
          <p:nvPr/>
        </p:nvSpPr>
        <p:spPr>
          <a:xfrm>
            <a:off x="2616854" y="4911644"/>
            <a:ext cx="1224136" cy="79208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AE3BB7EE-EB72-4F88-BC4E-7F7CEF26574E}"/>
              </a:ext>
            </a:extLst>
          </p:cNvPr>
          <p:cNvSpPr/>
          <p:nvPr/>
        </p:nvSpPr>
        <p:spPr>
          <a:xfrm>
            <a:off x="1982886" y="4199717"/>
            <a:ext cx="893695" cy="74401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D893F967-8BE7-41DB-AB01-541DE2D7E5A9}"/>
              </a:ext>
            </a:extLst>
          </p:cNvPr>
          <p:cNvSpPr/>
          <p:nvPr/>
        </p:nvSpPr>
        <p:spPr>
          <a:xfrm>
            <a:off x="2832850" y="3390462"/>
            <a:ext cx="255259" cy="4628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id="{43D4C233-8AB0-4EB5-94B1-74C3EF77D8B8}"/>
              </a:ext>
            </a:extLst>
          </p:cNvPr>
          <p:cNvSpPr/>
          <p:nvPr/>
        </p:nvSpPr>
        <p:spPr>
          <a:xfrm rot="20441106">
            <a:off x="3142212" y="2949751"/>
            <a:ext cx="527521" cy="12111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8A06B835-8BD6-45AE-A7EC-D02F84A1369A}"/>
              </a:ext>
            </a:extLst>
          </p:cNvPr>
          <p:cNvSpPr/>
          <p:nvPr/>
        </p:nvSpPr>
        <p:spPr>
          <a:xfrm>
            <a:off x="3938390" y="4142126"/>
            <a:ext cx="1182516" cy="50907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8CD05479-849A-41C8-AA9C-47D083A9BEBC}"/>
              </a:ext>
            </a:extLst>
          </p:cNvPr>
          <p:cNvSpPr/>
          <p:nvPr/>
        </p:nvSpPr>
        <p:spPr>
          <a:xfrm rot="20830345">
            <a:off x="3530467" y="3917569"/>
            <a:ext cx="992682" cy="25182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005831DD-2E98-468E-988B-3AF849F8E650}"/>
              </a:ext>
            </a:extLst>
          </p:cNvPr>
          <p:cNvSpPr/>
          <p:nvPr/>
        </p:nvSpPr>
        <p:spPr>
          <a:xfrm rot="2288032">
            <a:off x="3456778" y="3861453"/>
            <a:ext cx="519283" cy="17540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DAAB0B92-D144-42F9-BF26-802CB57285A6}"/>
              </a:ext>
            </a:extLst>
          </p:cNvPr>
          <p:cNvSpPr/>
          <p:nvPr/>
        </p:nvSpPr>
        <p:spPr>
          <a:xfrm>
            <a:off x="3513644" y="3657466"/>
            <a:ext cx="279551" cy="20364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A690A854-2734-4107-8600-6512F74CB373}"/>
              </a:ext>
            </a:extLst>
          </p:cNvPr>
          <p:cNvSpPr/>
          <p:nvPr/>
        </p:nvSpPr>
        <p:spPr>
          <a:xfrm>
            <a:off x="4205738" y="3939474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F53E0E86-7A31-4D95-AC08-DA76BE85A82C}"/>
              </a:ext>
            </a:extLst>
          </p:cNvPr>
          <p:cNvSpPr/>
          <p:nvPr/>
        </p:nvSpPr>
        <p:spPr>
          <a:xfrm>
            <a:off x="4447058" y="3876262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1F66964C-EE17-4B4C-B2DB-EB1A7BAD17AB}"/>
              </a:ext>
            </a:extLst>
          </p:cNvPr>
          <p:cNvSpPr/>
          <p:nvPr/>
        </p:nvSpPr>
        <p:spPr>
          <a:xfrm>
            <a:off x="4336105" y="3900758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id="{952725CE-34F6-426E-B451-E7E48653367E}"/>
              </a:ext>
            </a:extLst>
          </p:cNvPr>
          <p:cNvSpPr/>
          <p:nvPr/>
        </p:nvSpPr>
        <p:spPr>
          <a:xfrm>
            <a:off x="3925836" y="3876262"/>
            <a:ext cx="147010" cy="1731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id="{E1BBF65E-9D97-4B2A-A8BE-CCD0247DD8F3}"/>
              </a:ext>
            </a:extLst>
          </p:cNvPr>
          <p:cNvSpPr/>
          <p:nvPr/>
        </p:nvSpPr>
        <p:spPr>
          <a:xfrm>
            <a:off x="6587915" y="3497762"/>
            <a:ext cx="895660" cy="50907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4" name="Elipse 43">
            <a:extLst>
              <a:ext uri="{FF2B5EF4-FFF2-40B4-BE49-F238E27FC236}">
                <a16:creationId xmlns:a16="http://schemas.microsoft.com/office/drawing/2014/main" id="{E7E1F5DB-B65D-4A3B-B735-44ABF31A76A7}"/>
              </a:ext>
            </a:extLst>
          </p:cNvPr>
          <p:cNvSpPr/>
          <p:nvPr/>
        </p:nvSpPr>
        <p:spPr>
          <a:xfrm>
            <a:off x="2147384" y="1411145"/>
            <a:ext cx="282349" cy="51171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Elipse 44">
                <a:extLst>
                  <a:ext uri="{FF2B5EF4-FFF2-40B4-BE49-F238E27FC236}">
                    <a16:creationId xmlns:a16="http://schemas.microsoft.com/office/drawing/2014/main" id="{71C8EE32-1A32-4C74-A4B7-B1C5FBBAAC0F}"/>
                  </a:ext>
                </a:extLst>
              </p:cNvPr>
              <p:cNvSpPr/>
              <p:nvPr/>
            </p:nvSpPr>
            <p:spPr>
              <a:xfrm>
                <a:off x="2445610" y="4107396"/>
                <a:ext cx="432444" cy="47373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sz="2400" i="1" smtClean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</a:rPr>
                        <m:t>𝑆</m:t>
                      </m:r>
                    </m:oMath>
                  </m:oMathPara>
                </a14:m>
                <a:endParaRPr lang="es-CO" sz="2400" dirty="0">
                  <a:ln w="0"/>
                  <a:solidFill>
                    <a:srgbClr val="00B05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45" name="Elipse 44">
                <a:extLst>
                  <a:ext uri="{FF2B5EF4-FFF2-40B4-BE49-F238E27FC236}">
                    <a16:creationId xmlns:a16="http://schemas.microsoft.com/office/drawing/2014/main" id="{71C8EE32-1A32-4C74-A4B7-B1C5FBBAAC0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5610" y="4107396"/>
                <a:ext cx="432444" cy="473732"/>
              </a:xfrm>
              <a:prstGeom prst="ellipse">
                <a:avLst/>
              </a:prstGeom>
              <a:blipFill>
                <a:blip r:embed="rId4"/>
                <a:stretch>
                  <a:fillRect l="-422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7" name="Rectángulo 46">
            <a:extLst>
              <a:ext uri="{FF2B5EF4-FFF2-40B4-BE49-F238E27FC236}">
                <a16:creationId xmlns:a16="http://schemas.microsoft.com/office/drawing/2014/main" id="{29F899A2-BF69-485F-AE66-F8820A5F34A2}"/>
              </a:ext>
            </a:extLst>
          </p:cNvPr>
          <p:cNvSpPr/>
          <p:nvPr/>
        </p:nvSpPr>
        <p:spPr>
          <a:xfrm>
            <a:off x="5194115" y="4344262"/>
            <a:ext cx="2558438" cy="380772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8" name="Rectángulo 1">
            <a:extLst>
              <a:ext uri="{FF2B5EF4-FFF2-40B4-BE49-F238E27FC236}">
                <a16:creationId xmlns:a16="http://schemas.microsoft.com/office/drawing/2014/main" id="{220193B2-F0A1-4C43-8D04-6598BAEF0785}"/>
              </a:ext>
            </a:extLst>
          </p:cNvPr>
          <p:cNvSpPr/>
          <p:nvPr/>
        </p:nvSpPr>
        <p:spPr>
          <a:xfrm>
            <a:off x="2848170" y="1709440"/>
            <a:ext cx="3169150" cy="2174886"/>
          </a:xfrm>
          <a:custGeom>
            <a:avLst/>
            <a:gdLst>
              <a:gd name="connsiteX0" fmla="*/ 0 w 1911850"/>
              <a:gd name="connsiteY0" fmla="*/ 0 h 1489086"/>
              <a:gd name="connsiteX1" fmla="*/ 1911850 w 1911850"/>
              <a:gd name="connsiteY1" fmla="*/ 0 h 1489086"/>
              <a:gd name="connsiteX2" fmla="*/ 1911850 w 1911850"/>
              <a:gd name="connsiteY2" fmla="*/ 1489086 h 1489086"/>
              <a:gd name="connsiteX3" fmla="*/ 0 w 1911850"/>
              <a:gd name="connsiteY3" fmla="*/ 1489086 h 1489086"/>
              <a:gd name="connsiteX4" fmla="*/ 0 w 1911850"/>
              <a:gd name="connsiteY4" fmla="*/ 0 h 1489086"/>
              <a:gd name="connsiteX0" fmla="*/ 0 w 5632950"/>
              <a:gd name="connsiteY0" fmla="*/ 0 h 1768486"/>
              <a:gd name="connsiteX1" fmla="*/ 5632950 w 5632950"/>
              <a:gd name="connsiteY1" fmla="*/ 279400 h 1768486"/>
              <a:gd name="connsiteX2" fmla="*/ 5632950 w 5632950"/>
              <a:gd name="connsiteY2" fmla="*/ 1768486 h 1768486"/>
              <a:gd name="connsiteX3" fmla="*/ 3721100 w 5632950"/>
              <a:gd name="connsiteY3" fmla="*/ 1768486 h 1768486"/>
              <a:gd name="connsiteX4" fmla="*/ 0 w 5632950"/>
              <a:gd name="connsiteY4" fmla="*/ 0 h 1768486"/>
              <a:gd name="connsiteX0" fmla="*/ 0 w 5632950"/>
              <a:gd name="connsiteY0" fmla="*/ 0 h 1768486"/>
              <a:gd name="connsiteX1" fmla="*/ 3131050 w 5632950"/>
              <a:gd name="connsiteY1" fmla="*/ 12700 h 1768486"/>
              <a:gd name="connsiteX2" fmla="*/ 5632950 w 5632950"/>
              <a:gd name="connsiteY2" fmla="*/ 1768486 h 1768486"/>
              <a:gd name="connsiteX3" fmla="*/ 3721100 w 5632950"/>
              <a:gd name="connsiteY3" fmla="*/ 1768486 h 1768486"/>
              <a:gd name="connsiteX4" fmla="*/ 0 w 5632950"/>
              <a:gd name="connsiteY4" fmla="*/ 0 h 1768486"/>
              <a:gd name="connsiteX0" fmla="*/ 0 w 5632950"/>
              <a:gd name="connsiteY0" fmla="*/ 0 h 2174886"/>
              <a:gd name="connsiteX1" fmla="*/ 3131050 w 5632950"/>
              <a:gd name="connsiteY1" fmla="*/ 12700 h 2174886"/>
              <a:gd name="connsiteX2" fmla="*/ 5632950 w 5632950"/>
              <a:gd name="connsiteY2" fmla="*/ 1768486 h 2174886"/>
              <a:gd name="connsiteX3" fmla="*/ 1054100 w 5632950"/>
              <a:gd name="connsiteY3" fmla="*/ 2174886 h 2174886"/>
              <a:gd name="connsiteX4" fmla="*/ 0 w 5632950"/>
              <a:gd name="connsiteY4" fmla="*/ 0 h 2174886"/>
              <a:gd name="connsiteX0" fmla="*/ 0 w 3600950"/>
              <a:gd name="connsiteY0" fmla="*/ 0 h 2174886"/>
              <a:gd name="connsiteX1" fmla="*/ 3131050 w 3600950"/>
              <a:gd name="connsiteY1" fmla="*/ 12700 h 2174886"/>
              <a:gd name="connsiteX2" fmla="*/ 3600950 w 3600950"/>
              <a:gd name="connsiteY2" fmla="*/ 1349386 h 2174886"/>
              <a:gd name="connsiteX3" fmla="*/ 1054100 w 3600950"/>
              <a:gd name="connsiteY3" fmla="*/ 2174886 h 2174886"/>
              <a:gd name="connsiteX4" fmla="*/ 0 w 3600950"/>
              <a:gd name="connsiteY4" fmla="*/ 0 h 2174886"/>
              <a:gd name="connsiteX0" fmla="*/ 0 w 3169150"/>
              <a:gd name="connsiteY0" fmla="*/ 0 h 2174886"/>
              <a:gd name="connsiteX1" fmla="*/ 3131050 w 3169150"/>
              <a:gd name="connsiteY1" fmla="*/ 12700 h 2174886"/>
              <a:gd name="connsiteX2" fmla="*/ 3169150 w 3169150"/>
              <a:gd name="connsiteY2" fmla="*/ 1870086 h 2174886"/>
              <a:gd name="connsiteX3" fmla="*/ 1054100 w 3169150"/>
              <a:gd name="connsiteY3" fmla="*/ 2174886 h 2174886"/>
              <a:gd name="connsiteX4" fmla="*/ 0 w 3169150"/>
              <a:gd name="connsiteY4" fmla="*/ 0 h 2174886"/>
              <a:gd name="connsiteX0" fmla="*/ 0 w 3169150"/>
              <a:gd name="connsiteY0" fmla="*/ 0 h 2174886"/>
              <a:gd name="connsiteX1" fmla="*/ 3131050 w 3169150"/>
              <a:gd name="connsiteY1" fmla="*/ 12700 h 2174886"/>
              <a:gd name="connsiteX2" fmla="*/ 3169150 w 3169150"/>
              <a:gd name="connsiteY2" fmla="*/ 1870086 h 2174886"/>
              <a:gd name="connsiteX3" fmla="*/ 1054100 w 3169150"/>
              <a:gd name="connsiteY3" fmla="*/ 2174886 h 2174886"/>
              <a:gd name="connsiteX4" fmla="*/ 0 w 3169150"/>
              <a:gd name="connsiteY4" fmla="*/ 0 h 2174886"/>
              <a:gd name="connsiteX0" fmla="*/ 0 w 3169150"/>
              <a:gd name="connsiteY0" fmla="*/ 0 h 2174886"/>
              <a:gd name="connsiteX1" fmla="*/ 3131050 w 3169150"/>
              <a:gd name="connsiteY1" fmla="*/ 12700 h 2174886"/>
              <a:gd name="connsiteX2" fmla="*/ 3169150 w 3169150"/>
              <a:gd name="connsiteY2" fmla="*/ 1870086 h 2174886"/>
              <a:gd name="connsiteX3" fmla="*/ 1054100 w 3169150"/>
              <a:gd name="connsiteY3" fmla="*/ 2174886 h 2174886"/>
              <a:gd name="connsiteX4" fmla="*/ 0 w 3169150"/>
              <a:gd name="connsiteY4" fmla="*/ 0 h 2174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69150" h="2174886">
                <a:moveTo>
                  <a:pt x="0" y="0"/>
                </a:moveTo>
                <a:lnTo>
                  <a:pt x="3131050" y="12700"/>
                </a:lnTo>
                <a:lnTo>
                  <a:pt x="3169150" y="1870086"/>
                </a:lnTo>
                <a:cubicBezTo>
                  <a:pt x="2095833" y="2162186"/>
                  <a:pt x="1759117" y="2073286"/>
                  <a:pt x="1054100" y="217488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 dirty="0" err="1">
                <a:solidFill>
                  <a:schemeClr val="tx1"/>
                </a:solidFill>
              </a:rPr>
              <a:t>Convex</a:t>
            </a:r>
            <a:r>
              <a:rPr lang="es-CO" b="1" dirty="0">
                <a:solidFill>
                  <a:schemeClr val="tx1"/>
                </a:solidFill>
              </a:rPr>
              <a:t> Hu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9" name="Elipse 48">
                <a:extLst>
                  <a:ext uri="{FF2B5EF4-FFF2-40B4-BE49-F238E27FC236}">
                    <a16:creationId xmlns:a16="http://schemas.microsoft.com/office/drawing/2014/main" id="{AB572303-57F2-4701-BDFB-32C0843998C1}"/>
                  </a:ext>
                </a:extLst>
              </p:cNvPr>
              <p:cNvSpPr/>
              <p:nvPr/>
            </p:nvSpPr>
            <p:spPr>
              <a:xfrm>
                <a:off x="2866658" y="4352071"/>
                <a:ext cx="410129" cy="47373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s-CO" sz="2400" b="0" i="1" smtClean="0">
                              <a:ln w="0"/>
                              <a:solidFill>
                                <a:schemeClr val="tx2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sz="2400" b="0" i="1" smtClean="0">
                              <a:ln w="0"/>
                              <a:solidFill>
                                <a:schemeClr val="tx2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𝜉</m:t>
                          </m:r>
                        </m:e>
                        <m:sup>
                          <m:r>
                            <a:rPr lang="es-CO" sz="2400" b="0" i="1" smtClean="0">
                              <a:ln w="0"/>
                              <a:solidFill>
                                <a:schemeClr val="tx2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</m:oMath>
                  </m:oMathPara>
                </a14:m>
                <a:endParaRPr lang="es-CO" sz="2400" dirty="0">
                  <a:ln w="0"/>
                  <a:solidFill>
                    <a:schemeClr val="tx2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49" name="Elipse 48">
                <a:extLst>
                  <a:ext uri="{FF2B5EF4-FFF2-40B4-BE49-F238E27FC236}">
                    <a16:creationId xmlns:a16="http://schemas.microsoft.com/office/drawing/2014/main" id="{AB572303-57F2-4701-BDFB-32C0843998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66658" y="4352071"/>
                <a:ext cx="410129" cy="473731"/>
              </a:xfrm>
              <a:prstGeom prst="ellipse">
                <a:avLst/>
              </a:prstGeom>
              <a:blipFill>
                <a:blip r:embed="rId5"/>
                <a:stretch>
                  <a:fillRect l="-29412" b="-20513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2" name="Conector recto de flecha 51">
            <a:extLst>
              <a:ext uri="{FF2B5EF4-FFF2-40B4-BE49-F238E27FC236}">
                <a16:creationId xmlns:a16="http://schemas.microsoft.com/office/drawing/2014/main" id="{260E440F-ED57-4109-B008-26E09EB12554}"/>
              </a:ext>
            </a:extLst>
          </p:cNvPr>
          <p:cNvCxnSpPr>
            <a:cxnSpLocks/>
          </p:cNvCxnSpPr>
          <p:nvPr/>
        </p:nvCxnSpPr>
        <p:spPr>
          <a:xfrm flipH="1" flipV="1">
            <a:off x="2520800" y="1406293"/>
            <a:ext cx="781504" cy="2870159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 w="lg" len="lg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de flecha 52">
            <a:extLst>
              <a:ext uri="{FF2B5EF4-FFF2-40B4-BE49-F238E27FC236}">
                <a16:creationId xmlns:a16="http://schemas.microsoft.com/office/drawing/2014/main" id="{7627B547-F891-4FFE-936C-0654D6B127A3}"/>
              </a:ext>
            </a:extLst>
          </p:cNvPr>
          <p:cNvCxnSpPr>
            <a:cxnSpLocks/>
          </p:cNvCxnSpPr>
          <p:nvPr/>
        </p:nvCxnSpPr>
        <p:spPr>
          <a:xfrm flipV="1">
            <a:off x="3415479" y="3585547"/>
            <a:ext cx="3153791" cy="765041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 w="lg" len="lg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1" name="Rectángulo 50">
            <a:extLst>
              <a:ext uri="{FF2B5EF4-FFF2-40B4-BE49-F238E27FC236}">
                <a16:creationId xmlns:a16="http://schemas.microsoft.com/office/drawing/2014/main" id="{81033C95-AFF0-4272-AB70-C5371C74DA3C}"/>
              </a:ext>
            </a:extLst>
          </p:cNvPr>
          <p:cNvSpPr/>
          <p:nvPr/>
        </p:nvSpPr>
        <p:spPr>
          <a:xfrm rot="2660761">
            <a:off x="2569837" y="3622833"/>
            <a:ext cx="1520625" cy="1522020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id="{77AB9C58-DE91-4041-A544-31926A6815C6}"/>
              </a:ext>
            </a:extLst>
          </p:cNvPr>
          <p:cNvSpPr/>
          <p:nvPr/>
        </p:nvSpPr>
        <p:spPr>
          <a:xfrm>
            <a:off x="3203848" y="4233636"/>
            <a:ext cx="288032" cy="308821"/>
          </a:xfrm>
          <a:prstGeom prst="ellipse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 dirty="0">
              <a:ln w="0"/>
              <a:solidFill>
                <a:srgbClr val="C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76A705F0-00BE-4915-A845-D759DA8263E6}"/>
              </a:ext>
            </a:extLst>
          </p:cNvPr>
          <p:cNvCxnSpPr>
            <a:cxnSpLocks/>
          </p:cNvCxnSpPr>
          <p:nvPr/>
        </p:nvCxnSpPr>
        <p:spPr>
          <a:xfrm flipH="1" flipV="1">
            <a:off x="2608046" y="3231222"/>
            <a:ext cx="2558438" cy="148908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" name="Título 1">
            <a:extLst>
              <a:ext uri="{FF2B5EF4-FFF2-40B4-BE49-F238E27FC236}">
                <a16:creationId xmlns:a16="http://schemas.microsoft.com/office/drawing/2014/main" id="{B27D099C-BA44-480F-ADEE-08B659DB83C6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ranch &amp; Cut</a:t>
            </a:r>
          </a:p>
        </p:txBody>
      </p:sp>
    </p:spTree>
    <p:extLst>
      <p:ext uri="{BB962C8B-B14F-4D97-AF65-F5344CB8AC3E}">
        <p14:creationId xmlns:p14="http://schemas.microsoft.com/office/powerpoint/2010/main" val="587779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7" grpId="0" animBg="1"/>
      <p:bldP spid="45" grpId="0" animBg="1"/>
      <p:bldP spid="47" grpId="0" animBg="1"/>
      <p:bldP spid="48" grpId="0" animBg="1"/>
      <p:bldP spid="49" grpId="0" animBg="1"/>
      <p:bldP spid="51" grpId="0" animBg="1"/>
      <p:bldP spid="5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29</a:t>
            </a:fld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552DA82-1123-45B5-AD30-1B283823829F}"/>
              </a:ext>
            </a:extLst>
          </p:cNvPr>
          <p:cNvSpPr txBox="1"/>
          <p:nvPr/>
        </p:nvSpPr>
        <p:spPr>
          <a:xfrm>
            <a:off x="283940" y="1412776"/>
            <a:ext cx="8259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nstance 3 example (Branch &amp; Cut)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F4AF894-C7BD-4C17-95B1-0E9D07F9D9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24" y="2274233"/>
            <a:ext cx="2565251" cy="3150527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8163CEE8-1B44-4376-94C7-AB7D7DD26E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544" y="2581269"/>
            <a:ext cx="504056" cy="847731"/>
          </a:xfrm>
          <a:prstGeom prst="rect">
            <a:avLst/>
          </a:prstGeom>
        </p:spPr>
      </p:pic>
      <p:pic>
        <p:nvPicPr>
          <p:cNvPr id="4" name="Imagen 3" descr="Imagen que contiene mapa&#10;&#10;Descripción generada automáticamente">
            <a:extLst>
              <a:ext uri="{FF2B5EF4-FFF2-40B4-BE49-F238E27FC236}">
                <a16:creationId xmlns:a16="http://schemas.microsoft.com/office/drawing/2014/main" id="{603CD040-4133-43E7-A233-CC90B16D59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64" y="2274233"/>
            <a:ext cx="4852506" cy="3150318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269AF338-7DDD-4DAF-B0C4-5631352D5FC9}"/>
              </a:ext>
            </a:extLst>
          </p:cNvPr>
          <p:cNvSpPr/>
          <p:nvPr/>
        </p:nvSpPr>
        <p:spPr>
          <a:xfrm>
            <a:off x="3347864" y="3140968"/>
            <a:ext cx="288032" cy="1224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CC98DCD2-4C0B-40E6-B9B7-02A07F8A0020}"/>
              </a:ext>
            </a:extLst>
          </p:cNvPr>
          <p:cNvSpPr/>
          <p:nvPr/>
        </p:nvSpPr>
        <p:spPr>
          <a:xfrm>
            <a:off x="4862396" y="4500736"/>
            <a:ext cx="141652" cy="152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D6E6C09-1077-4C12-AC5F-33FCC573D4B8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ranch &amp; Cut</a:t>
            </a:r>
          </a:p>
        </p:txBody>
      </p:sp>
    </p:spTree>
    <p:extLst>
      <p:ext uri="{BB962C8B-B14F-4D97-AF65-F5344CB8AC3E}">
        <p14:creationId xmlns:p14="http://schemas.microsoft.com/office/powerpoint/2010/main" val="2935038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3</a:t>
            </a:fld>
            <a:endParaRPr lang="es-ES" dirty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D2AE9F25-1009-425C-9497-689BB754599E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Example: PPPs in infrastructure projects</a:t>
            </a: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EA9490DA-4584-442A-A84C-78912BCE71DA}"/>
              </a:ext>
            </a:extLst>
          </p:cNvPr>
          <p:cNvGrpSpPr/>
          <p:nvPr/>
        </p:nvGrpSpPr>
        <p:grpSpPr>
          <a:xfrm>
            <a:off x="588705" y="2037235"/>
            <a:ext cx="8181597" cy="4082601"/>
            <a:chOff x="521405" y="1916832"/>
            <a:chExt cx="8181597" cy="4082601"/>
          </a:xfrm>
        </p:grpSpPr>
        <p:pic>
          <p:nvPicPr>
            <p:cNvPr id="2" name="Imagen 1">
              <a:extLst>
                <a:ext uri="{FF2B5EF4-FFF2-40B4-BE49-F238E27FC236}">
                  <a16:creationId xmlns:a16="http://schemas.microsoft.com/office/drawing/2014/main" id="{950DC2A5-98D2-4ADC-A203-0FC604DB9E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1405" y="1916832"/>
              <a:ext cx="8181597" cy="3725684"/>
            </a:xfrm>
            <a:prstGeom prst="rect">
              <a:avLst/>
            </a:prstGeom>
          </p:spPr>
        </p:pic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773117C3-0FA8-4EB7-BB6A-24EB8F209F43}"/>
                </a:ext>
              </a:extLst>
            </p:cNvPr>
            <p:cNvSpPr/>
            <p:nvPr/>
          </p:nvSpPr>
          <p:spPr>
            <a:xfrm>
              <a:off x="3388576" y="1933814"/>
              <a:ext cx="2232248" cy="151216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1472E974-AE5C-4B1F-9858-B11E14B85948}"/>
                </a:ext>
              </a:extLst>
            </p:cNvPr>
            <p:cNvSpPr/>
            <p:nvPr/>
          </p:nvSpPr>
          <p:spPr>
            <a:xfrm>
              <a:off x="5940152" y="4487265"/>
              <a:ext cx="2232248" cy="151216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</p:grpSp>
      <p:sp>
        <p:nvSpPr>
          <p:cNvPr id="5" name="Rectángulo 4">
            <a:extLst>
              <a:ext uri="{FF2B5EF4-FFF2-40B4-BE49-F238E27FC236}">
                <a16:creationId xmlns:a16="http://schemas.microsoft.com/office/drawing/2014/main" id="{A536653E-5DE7-47E5-BAC8-0087E7DC015A}"/>
              </a:ext>
            </a:extLst>
          </p:cNvPr>
          <p:cNvSpPr/>
          <p:nvPr/>
        </p:nvSpPr>
        <p:spPr>
          <a:xfrm>
            <a:off x="251520" y="5938098"/>
            <a:ext cx="2631681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ros: Technical expertise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BAC93BFB-48A0-4C5A-8541-46377247A438}"/>
              </a:ext>
            </a:extLst>
          </p:cNvPr>
          <p:cNvSpPr/>
          <p:nvPr/>
        </p:nvSpPr>
        <p:spPr>
          <a:xfrm>
            <a:off x="5364088" y="5939988"/>
            <a:ext cx="369658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Cons: Principal-Agent (PA) Problem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E8D78DF9-485A-458E-8133-319B22E2EE4E}"/>
              </a:ext>
            </a:extLst>
          </p:cNvPr>
          <p:cNvSpPr/>
          <p:nvPr/>
        </p:nvSpPr>
        <p:spPr>
          <a:xfrm>
            <a:off x="1560900" y="1852569"/>
            <a:ext cx="1156086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rincipal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F5585396-348D-414D-8D87-7C17CF722652}"/>
              </a:ext>
            </a:extLst>
          </p:cNvPr>
          <p:cNvSpPr/>
          <p:nvPr/>
        </p:nvSpPr>
        <p:spPr>
          <a:xfrm>
            <a:off x="6722505" y="1852569"/>
            <a:ext cx="801823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Agent</a:t>
            </a: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C8D0E7A9-F628-4CCD-B68E-9B6F33FCF2C7}"/>
              </a:ext>
            </a:extLst>
          </p:cNvPr>
          <p:cNvGrpSpPr/>
          <p:nvPr/>
        </p:nvGrpSpPr>
        <p:grpSpPr>
          <a:xfrm>
            <a:off x="3223198" y="6381328"/>
            <a:ext cx="2769613" cy="261610"/>
            <a:chOff x="6264703" y="6094740"/>
            <a:chExt cx="2769613" cy="261610"/>
          </a:xfrm>
        </p:grpSpPr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BE391701-DDCB-4542-9936-1C1CF7153616}"/>
                </a:ext>
              </a:extLst>
            </p:cNvPr>
            <p:cNvSpPr/>
            <p:nvPr/>
          </p:nvSpPr>
          <p:spPr>
            <a:xfrm>
              <a:off x="7961586" y="6094740"/>
              <a:ext cx="1072730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O" sz="11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Liu et al. (2017)</a:t>
              </a:r>
              <a:endParaRPr lang="es-CO" sz="1100" dirty="0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85F59EFE-80D1-469B-9334-C62FCEB11437}"/>
                </a:ext>
              </a:extLst>
            </p:cNvPr>
            <p:cNvSpPr/>
            <p:nvPr/>
          </p:nvSpPr>
          <p:spPr>
            <a:xfrm>
              <a:off x="6264703" y="6094740"/>
              <a:ext cx="165782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O" sz="11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Jensen &amp; </a:t>
              </a:r>
              <a:r>
                <a:rPr lang="es-CO" sz="1100" dirty="0" err="1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ckling</a:t>
              </a:r>
              <a:r>
                <a:rPr lang="es-CO" sz="11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(1976)</a:t>
              </a:r>
              <a:endParaRPr lang="es-CO" sz="1100" dirty="0"/>
            </a:p>
          </p:txBody>
        </p: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0929DD86-6447-412C-9585-0170A7924C4F}"/>
              </a:ext>
            </a:extLst>
          </p:cNvPr>
          <p:cNvSpPr/>
          <p:nvPr/>
        </p:nvSpPr>
        <p:spPr>
          <a:xfrm>
            <a:off x="2619350" y="1266040"/>
            <a:ext cx="3905300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ublic Private Partnerships (PPPs)</a:t>
            </a:r>
          </a:p>
        </p:txBody>
      </p:sp>
    </p:spTree>
    <p:extLst>
      <p:ext uri="{BB962C8B-B14F-4D97-AF65-F5344CB8AC3E}">
        <p14:creationId xmlns:p14="http://schemas.microsoft.com/office/powerpoint/2010/main" val="133414896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 descr="Una captura de pantalla de un celular&#10;&#10;Descripción generada automáticamente">
            <a:extLst>
              <a:ext uri="{FF2B5EF4-FFF2-40B4-BE49-F238E27FC236}">
                <a16:creationId xmlns:a16="http://schemas.microsoft.com/office/drawing/2014/main" id="{AA9C7A5A-A518-4C51-ABEE-E5015FD62E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260" y="2348177"/>
            <a:ext cx="5544616" cy="3347210"/>
          </a:xfrm>
          <a:prstGeom prst="rect">
            <a:avLst/>
          </a:prstGeom>
        </p:spPr>
      </p:pic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30</a:t>
            </a:fld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552DA82-1123-45B5-AD30-1B283823829F}"/>
              </a:ext>
            </a:extLst>
          </p:cNvPr>
          <p:cNvSpPr txBox="1"/>
          <p:nvPr/>
        </p:nvSpPr>
        <p:spPr>
          <a:xfrm>
            <a:off x="283940" y="1412776"/>
            <a:ext cx="8259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nstance 3 example (Branch &amp; Cut)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F4AF894-C7BD-4C17-95B1-0E9D07F9D9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24" y="2274233"/>
            <a:ext cx="2565251" cy="3150527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8163CEE8-1B44-4376-94C7-AB7D7DD26E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544" y="2581269"/>
            <a:ext cx="504056" cy="847731"/>
          </a:xfrm>
          <a:prstGeom prst="rect">
            <a:avLst/>
          </a:prstGeom>
        </p:spPr>
      </p:pic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C6CD120-7F0D-48E7-BF9C-EEEA2BE53946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ranch &amp; Cut</a:t>
            </a:r>
          </a:p>
        </p:txBody>
      </p:sp>
    </p:spTree>
    <p:extLst>
      <p:ext uri="{BB962C8B-B14F-4D97-AF65-F5344CB8AC3E}">
        <p14:creationId xmlns:p14="http://schemas.microsoft.com/office/powerpoint/2010/main" val="9474944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31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Testbed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4C7357A9-D13A-46F1-BE4F-DC1BE11FCAFB}"/>
              </a:ext>
            </a:extLst>
          </p:cNvPr>
          <p:cNvSpPr/>
          <p:nvPr/>
        </p:nvSpPr>
        <p:spPr>
          <a:xfrm rot="5400000">
            <a:off x="5621770" y="2530180"/>
            <a:ext cx="365125" cy="62090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EAE3F6A-3AC5-472C-8A52-194B545A21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772" y="1848524"/>
            <a:ext cx="8803493" cy="3786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8643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32</a:t>
            </a:fld>
            <a:endParaRPr lang="es-E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C05FEAE-C72B-4867-A5A2-73840FA33E6D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Outline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868B41B3-E6CB-467B-8AAF-F87BC52A485F}"/>
              </a:ext>
            </a:extLst>
          </p:cNvPr>
          <p:cNvSpPr/>
          <p:nvPr/>
        </p:nvSpPr>
        <p:spPr>
          <a:xfrm>
            <a:off x="359024" y="1558031"/>
            <a:ext cx="8533456" cy="5543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 bi-level features to MIP model of PPPs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ild bi-level alternative formulation</a:t>
            </a: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-level Branch &amp; Bound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ized implementation of Branch &amp; Bound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-level Branch &amp; Cut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ized implementation of Branch &amp; Bound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ection Cuts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bg1">
                  <a:lumMod val="8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nt results</a:t>
            </a:r>
          </a:p>
          <a:p>
            <a:pPr marL="1257300" lvl="2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Aft>
                <a:spcPts val="0"/>
              </a:spcAft>
            </a:pPr>
            <a:endParaRPr lang="es-CO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6218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33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with B&amp;C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F90BEE2-FB98-45E9-A8B6-C0BD9BDEADD6}"/>
              </a:ext>
            </a:extLst>
          </p:cNvPr>
          <p:cNvSpPr/>
          <p:nvPr/>
        </p:nvSpPr>
        <p:spPr>
          <a:xfrm>
            <a:off x="472649" y="1240468"/>
            <a:ext cx="8198719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oad performance </a:t>
            </a:r>
            <a:r>
              <a:rPr lang="es-ES" sz="28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under</a:t>
            </a:r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8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rincipal’s</a:t>
            </a:r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8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objective</a:t>
            </a:r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(HPR)</a:t>
            </a:r>
          </a:p>
        </p:txBody>
      </p:sp>
      <p:pic>
        <p:nvPicPr>
          <p:cNvPr id="77828" name="Picture 4">
            <a:extLst>
              <a:ext uri="{FF2B5EF4-FFF2-40B4-BE49-F238E27FC236}">
                <a16:creationId xmlns:a16="http://schemas.microsoft.com/office/drawing/2014/main" id="{5C914DFA-AED7-4A02-887A-D7079A6511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140" y="1895215"/>
            <a:ext cx="8322794" cy="4329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244142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34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with B&amp;C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68E2515A-22C5-4777-91E9-2DCE56B635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068" y="2127330"/>
            <a:ext cx="7885864" cy="3745079"/>
          </a:xfrm>
          <a:prstGeom prst="rect">
            <a:avLst/>
          </a:prstGeom>
        </p:spPr>
      </p:pic>
      <p:sp>
        <p:nvSpPr>
          <p:cNvPr id="2" name="Elipse 1">
            <a:extLst>
              <a:ext uri="{FF2B5EF4-FFF2-40B4-BE49-F238E27FC236}">
                <a16:creationId xmlns:a16="http://schemas.microsoft.com/office/drawing/2014/main" id="{707A156A-E4C8-47E0-ACEC-8CCC911CD413}"/>
              </a:ext>
            </a:extLst>
          </p:cNvPr>
          <p:cNvSpPr/>
          <p:nvPr/>
        </p:nvSpPr>
        <p:spPr>
          <a:xfrm>
            <a:off x="899592" y="5013176"/>
            <a:ext cx="504056" cy="43204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3D79F771-F4BA-41DA-B30D-643B0C90CE84}"/>
              </a:ext>
            </a:extLst>
          </p:cNvPr>
          <p:cNvSpPr/>
          <p:nvPr/>
        </p:nvSpPr>
        <p:spPr>
          <a:xfrm>
            <a:off x="1620847" y="1484784"/>
            <a:ext cx="5902321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oad performance </a:t>
            </a:r>
            <a:r>
              <a:rPr lang="es-ES" sz="20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under</a:t>
            </a:r>
            <a:r>
              <a:rPr lang="es-E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0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rincipal’s</a:t>
            </a:r>
            <a:r>
              <a:rPr lang="es-E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0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objective</a:t>
            </a:r>
            <a:r>
              <a:rPr lang="es-E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(HPR)</a:t>
            </a:r>
          </a:p>
        </p:txBody>
      </p:sp>
    </p:spTree>
    <p:extLst>
      <p:ext uri="{BB962C8B-B14F-4D97-AF65-F5344CB8AC3E}">
        <p14:creationId xmlns:p14="http://schemas.microsoft.com/office/powerpoint/2010/main" val="1460781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35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with B&amp;C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05EE712D-B464-4AD3-85EE-7ED4C7CDC109}"/>
              </a:ext>
            </a:extLst>
          </p:cNvPr>
          <p:cNvSpPr/>
          <p:nvPr/>
        </p:nvSpPr>
        <p:spPr>
          <a:xfrm>
            <a:off x="2492743" y="1416151"/>
            <a:ext cx="4158511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Agent’s</a:t>
            </a:r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8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oad</a:t>
            </a:r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performance</a:t>
            </a:r>
          </a:p>
        </p:txBody>
      </p:sp>
      <p:pic>
        <p:nvPicPr>
          <p:cNvPr id="78852" name="Picture 4">
            <a:extLst>
              <a:ext uri="{FF2B5EF4-FFF2-40B4-BE49-F238E27FC236}">
                <a16:creationId xmlns:a16="http://schemas.microsoft.com/office/drawing/2014/main" id="{712184A9-35DF-4474-AC5D-BB32E6A14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82" y="2061988"/>
            <a:ext cx="8609789" cy="4000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86134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36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with B&amp;C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1585E2B5-C6C5-4F62-863A-5BCD84D207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2127330"/>
            <a:ext cx="7776864" cy="3781411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664BAC1A-439F-497C-B9F7-24ADD776D468}"/>
              </a:ext>
            </a:extLst>
          </p:cNvPr>
          <p:cNvSpPr/>
          <p:nvPr/>
        </p:nvSpPr>
        <p:spPr>
          <a:xfrm>
            <a:off x="2019873" y="1484784"/>
            <a:ext cx="5104282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oad performance </a:t>
            </a:r>
            <a:r>
              <a:rPr lang="es-ES" sz="20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under</a:t>
            </a:r>
            <a:r>
              <a:rPr lang="es-E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0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follower’s</a:t>
            </a:r>
            <a:r>
              <a:rPr lang="es-E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response</a:t>
            </a:r>
          </a:p>
        </p:txBody>
      </p:sp>
    </p:spTree>
    <p:extLst>
      <p:ext uri="{BB962C8B-B14F-4D97-AF65-F5344CB8AC3E}">
        <p14:creationId xmlns:p14="http://schemas.microsoft.com/office/powerpoint/2010/main" val="413358121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37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with B&amp;C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6925625B-3CDC-4412-9B39-927CB826A6C6}"/>
              </a:ext>
            </a:extLst>
          </p:cNvPr>
          <p:cNvSpPr/>
          <p:nvPr/>
        </p:nvSpPr>
        <p:spPr>
          <a:xfrm>
            <a:off x="1979783" y="1381115"/>
            <a:ext cx="5184433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Equilibrium</a:t>
            </a:r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8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oad’s</a:t>
            </a:r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performance</a:t>
            </a:r>
          </a:p>
        </p:txBody>
      </p:sp>
      <p:pic>
        <p:nvPicPr>
          <p:cNvPr id="79874" name="Picture 2">
            <a:extLst>
              <a:ext uri="{FF2B5EF4-FFF2-40B4-BE49-F238E27FC236}">
                <a16:creationId xmlns:a16="http://schemas.microsoft.com/office/drawing/2014/main" id="{7A54FB77-C140-4572-946A-143394CB68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53" y="2099438"/>
            <a:ext cx="8367604" cy="3975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56154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38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with B&amp;C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7961FBC-0293-4F90-92ED-38349E3A33DF}"/>
              </a:ext>
            </a:extLst>
          </p:cNvPr>
          <p:cNvSpPr/>
          <p:nvPr/>
        </p:nvSpPr>
        <p:spPr>
          <a:xfrm>
            <a:off x="1533076" y="1422289"/>
            <a:ext cx="6086924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Equilibrium</a:t>
            </a:r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8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inspection</a:t>
            </a:r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&amp; </a:t>
            </a:r>
            <a:r>
              <a:rPr lang="es-ES" sz="28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maintenance</a:t>
            </a:r>
            <a:endParaRPr lang="es-ES" sz="28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81926" name="Picture 6">
            <a:extLst>
              <a:ext uri="{FF2B5EF4-FFF2-40B4-BE49-F238E27FC236}">
                <a16:creationId xmlns:a16="http://schemas.microsoft.com/office/drawing/2014/main" id="{43079326-3863-485C-BDB6-87B46CB6A3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999" y="2128038"/>
            <a:ext cx="8135576" cy="3865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690394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39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with B&amp;C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80898" name="Picture 2">
            <a:extLst>
              <a:ext uri="{FF2B5EF4-FFF2-40B4-BE49-F238E27FC236}">
                <a16:creationId xmlns:a16="http://schemas.microsoft.com/office/drawing/2014/main" id="{87BD71D6-175B-4019-B057-6A6DA3C6E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346" y="2289352"/>
            <a:ext cx="8015307" cy="3724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8484F882-DFC6-4438-8323-740D86BE409A}"/>
              </a:ext>
            </a:extLst>
          </p:cNvPr>
          <p:cNvSpPr/>
          <p:nvPr/>
        </p:nvSpPr>
        <p:spPr>
          <a:xfrm>
            <a:off x="1620847" y="1588730"/>
            <a:ext cx="5902321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oad performance </a:t>
            </a:r>
            <a:r>
              <a:rPr lang="es-ES" sz="20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under</a:t>
            </a:r>
            <a:r>
              <a:rPr lang="es-E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0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rincipal’s</a:t>
            </a:r>
            <a:r>
              <a:rPr lang="es-E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0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objective</a:t>
            </a:r>
            <a:r>
              <a:rPr lang="es-E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(HPR)</a:t>
            </a:r>
          </a:p>
        </p:txBody>
      </p:sp>
    </p:spTree>
    <p:extLst>
      <p:ext uri="{BB962C8B-B14F-4D97-AF65-F5344CB8AC3E}">
        <p14:creationId xmlns:p14="http://schemas.microsoft.com/office/powerpoint/2010/main" val="3037743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4</a:t>
            </a:fld>
            <a:endParaRPr lang="es-ES" dirty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D2AE9F25-1009-425C-9497-689BB754599E}"/>
              </a:ext>
            </a:extLst>
          </p:cNvPr>
          <p:cNvSpPr txBox="1">
            <a:spLocks/>
          </p:cNvSpPr>
          <p:nvPr/>
        </p:nvSpPr>
        <p:spPr>
          <a:xfrm>
            <a:off x="251520" y="548970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M.Sc. research: using OR to support decisions in PPPs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A88C8EAB-650B-472F-B925-3C24560F64B3}"/>
              </a:ext>
            </a:extLst>
          </p:cNvPr>
          <p:cNvSpPr/>
          <p:nvPr/>
        </p:nvSpPr>
        <p:spPr>
          <a:xfrm>
            <a:off x="359024" y="1726794"/>
            <a:ext cx="8784976" cy="2249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22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w to exploit the benefits of PPPs while reducing their drawbacks?</a:t>
            </a:r>
          </a:p>
          <a:p>
            <a:pPr lvl="0">
              <a:lnSpc>
                <a:spcPct val="107000"/>
              </a:lnSpc>
              <a:spcAft>
                <a:spcPts val="0"/>
              </a:spcAft>
            </a:pPr>
            <a:endParaRPr lang="es-CO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07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w does the agent respond to the rules of a contract?</a:t>
            </a:r>
          </a:p>
          <a:p>
            <a:pPr marL="742950" lvl="1" indent="-285750">
              <a:lnSpc>
                <a:spcPct val="107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s-CO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07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n contract terms shape the behavior of the agent?</a:t>
            </a:r>
          </a:p>
          <a:p>
            <a:pPr lvl="1">
              <a:lnSpc>
                <a:spcPct val="107000"/>
              </a:lnSpc>
              <a:spcAft>
                <a:spcPts val="0"/>
              </a:spcAft>
            </a:pPr>
            <a:endParaRPr lang="es-CO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BE2D1EB-4236-4D9E-AAEB-A71FA8599252}"/>
              </a:ext>
            </a:extLst>
          </p:cNvPr>
          <p:cNvSpPr txBox="1"/>
          <p:nvPr/>
        </p:nvSpPr>
        <p:spPr>
          <a:xfrm>
            <a:off x="-75964" y="4533694"/>
            <a:ext cx="9036496" cy="9034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can use OR to analyze actors’ best strategies and</a:t>
            </a:r>
          </a:p>
          <a:p>
            <a:pPr marL="457200" marR="0" lvl="1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plore conditions that might contribute to a social equilibrium</a:t>
            </a:r>
            <a:endParaRPr kumimoji="0" lang="es-CO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49635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40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with B&amp;C</a:t>
            </a:r>
          </a:p>
          <a:p>
            <a:pPr algn="l"/>
            <a:endParaRPr lang="en-US" sz="2400" b="1" dirty="0"/>
          </a:p>
        </p:txBody>
      </p:sp>
      <p:pic>
        <p:nvPicPr>
          <p:cNvPr id="82946" name="Picture 2" descr="Government Icons - Download Free Vector Icons | Noun Project">
            <a:extLst>
              <a:ext uri="{FF2B5EF4-FFF2-40B4-BE49-F238E27FC236}">
                <a16:creationId xmlns:a16="http://schemas.microsoft.com/office/drawing/2014/main" id="{8A5041AA-38A2-46F3-AEAA-E4E2DEF174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316" y="2372936"/>
            <a:ext cx="1233517" cy="1233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948" name="Picture 4" descr="Contractor Icons - Download Free Vector Icons | Noun Project">
            <a:extLst>
              <a:ext uri="{FF2B5EF4-FFF2-40B4-BE49-F238E27FC236}">
                <a16:creationId xmlns:a16="http://schemas.microsoft.com/office/drawing/2014/main" id="{4C89D317-D3B4-4107-81F5-0FFA2ACF1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5227" y="2439202"/>
            <a:ext cx="1165545" cy="1165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950" name="Picture 6" descr="Divergence Icon of Line style - Available in SVG, PNG, EPS, AI ...">
            <a:extLst>
              <a:ext uri="{FF2B5EF4-FFF2-40B4-BE49-F238E27FC236}">
                <a16:creationId xmlns:a16="http://schemas.microsoft.com/office/drawing/2014/main" id="{4EA4C380-BF01-4BBC-9844-47DC432029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4084" y="2204864"/>
            <a:ext cx="1375831" cy="1375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952" name="Picture 8" descr="Balance Icon of Flat style - Available in SVG, PNG, EPS, AI &amp; Icon ...">
            <a:extLst>
              <a:ext uri="{FF2B5EF4-FFF2-40B4-BE49-F238E27FC236}">
                <a16:creationId xmlns:a16="http://schemas.microsoft.com/office/drawing/2014/main" id="{EAF8D020-8EEE-4D0D-93B4-52174226C3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5334" y="3933774"/>
            <a:ext cx="1545736" cy="1545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lecha: a la derecha 1">
            <a:extLst>
              <a:ext uri="{FF2B5EF4-FFF2-40B4-BE49-F238E27FC236}">
                <a16:creationId xmlns:a16="http://schemas.microsoft.com/office/drawing/2014/main" id="{0C2C033C-9451-4ED8-BE83-44729822532A}"/>
              </a:ext>
            </a:extLst>
          </p:cNvPr>
          <p:cNvSpPr/>
          <p:nvPr/>
        </p:nvSpPr>
        <p:spPr>
          <a:xfrm>
            <a:off x="2433516" y="2640729"/>
            <a:ext cx="709200" cy="252051"/>
          </a:xfrm>
          <a:prstGeom prst="rightArrow">
            <a:avLst/>
          </a:prstGeom>
          <a:solidFill>
            <a:schemeClr val="accent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0" name="Flecha: a la derecha 9">
            <a:extLst>
              <a:ext uri="{FF2B5EF4-FFF2-40B4-BE49-F238E27FC236}">
                <a16:creationId xmlns:a16="http://schemas.microsoft.com/office/drawing/2014/main" id="{494F8A3B-342B-4830-8932-AA6A76FB2122}"/>
              </a:ext>
            </a:extLst>
          </p:cNvPr>
          <p:cNvSpPr/>
          <p:nvPr/>
        </p:nvSpPr>
        <p:spPr>
          <a:xfrm>
            <a:off x="5836556" y="3322827"/>
            <a:ext cx="709200" cy="252051"/>
          </a:xfrm>
          <a:prstGeom prst="rightArrow">
            <a:avLst/>
          </a:prstGeom>
          <a:solidFill>
            <a:schemeClr val="accent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1" name="Flecha: a la derecha 10">
            <a:extLst>
              <a:ext uri="{FF2B5EF4-FFF2-40B4-BE49-F238E27FC236}">
                <a16:creationId xmlns:a16="http://schemas.microsoft.com/office/drawing/2014/main" id="{B2006A28-F867-405B-8FB4-4E219E89A8F1}"/>
              </a:ext>
            </a:extLst>
          </p:cNvPr>
          <p:cNvSpPr/>
          <p:nvPr/>
        </p:nvSpPr>
        <p:spPr>
          <a:xfrm rot="10800000">
            <a:off x="5836556" y="2640729"/>
            <a:ext cx="709200" cy="252051"/>
          </a:xfrm>
          <a:prstGeom prst="rightArrow">
            <a:avLst/>
          </a:prstGeom>
          <a:solidFill>
            <a:srgbClr val="2FC1D5"/>
          </a:solidFill>
          <a:ln>
            <a:solidFill>
              <a:srgbClr val="2FC1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2" name="Flecha: a la derecha 11">
            <a:extLst>
              <a:ext uri="{FF2B5EF4-FFF2-40B4-BE49-F238E27FC236}">
                <a16:creationId xmlns:a16="http://schemas.microsoft.com/office/drawing/2014/main" id="{481F3D6A-AA40-45D0-B2BF-FCA24710CCF8}"/>
              </a:ext>
            </a:extLst>
          </p:cNvPr>
          <p:cNvSpPr/>
          <p:nvPr/>
        </p:nvSpPr>
        <p:spPr>
          <a:xfrm rot="10800000">
            <a:off x="2439613" y="3311095"/>
            <a:ext cx="709200" cy="252051"/>
          </a:xfrm>
          <a:prstGeom prst="rightArrow">
            <a:avLst/>
          </a:prstGeom>
          <a:solidFill>
            <a:srgbClr val="2FC1D5"/>
          </a:solidFill>
          <a:ln>
            <a:solidFill>
              <a:srgbClr val="2FC1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Flecha: doblada 3">
            <a:extLst>
              <a:ext uri="{FF2B5EF4-FFF2-40B4-BE49-F238E27FC236}">
                <a16:creationId xmlns:a16="http://schemas.microsoft.com/office/drawing/2014/main" id="{C7D0D4B9-2115-4286-BA9D-FE462F1202A9}"/>
              </a:ext>
            </a:extLst>
          </p:cNvPr>
          <p:cNvSpPr/>
          <p:nvPr/>
        </p:nvSpPr>
        <p:spPr>
          <a:xfrm rot="10800000">
            <a:off x="5534399" y="3803866"/>
            <a:ext cx="2133600" cy="1296146"/>
          </a:xfrm>
          <a:prstGeom prst="bentArrow">
            <a:avLst>
              <a:gd name="adj1" fmla="val 20850"/>
              <a:gd name="adj2" fmla="val 22925"/>
              <a:gd name="adj3" fmla="val 25000"/>
              <a:gd name="adj4" fmla="val 43750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tx1"/>
              </a:solidFill>
            </a:endParaRPr>
          </a:p>
        </p:txBody>
      </p:sp>
      <p:sp>
        <p:nvSpPr>
          <p:cNvPr id="14" name="Flecha: doblada 13">
            <a:extLst>
              <a:ext uri="{FF2B5EF4-FFF2-40B4-BE49-F238E27FC236}">
                <a16:creationId xmlns:a16="http://schemas.microsoft.com/office/drawing/2014/main" id="{D3877608-E221-4239-A121-67B07EF1E4AB}"/>
              </a:ext>
            </a:extLst>
          </p:cNvPr>
          <p:cNvSpPr/>
          <p:nvPr/>
        </p:nvSpPr>
        <p:spPr>
          <a:xfrm rot="10800000" flipH="1">
            <a:off x="1528407" y="3805858"/>
            <a:ext cx="2133600" cy="1296146"/>
          </a:xfrm>
          <a:prstGeom prst="bentArrow">
            <a:avLst>
              <a:gd name="adj1" fmla="val 20850"/>
              <a:gd name="adj2" fmla="val 22925"/>
              <a:gd name="adj3" fmla="val 25000"/>
              <a:gd name="adj4" fmla="val 43750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22874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41</a:t>
            </a:fld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4189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schetti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al. (2017)</a:t>
            </a:r>
            <a:endParaRPr lang="es-CO" sz="1100" dirty="0"/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A1D0B779-C8B1-4C6F-A86A-4584585EDF26}"/>
              </a:ext>
            </a:extLst>
          </p:cNvPr>
          <p:cNvSpPr txBox="1">
            <a:spLocks/>
          </p:cNvSpPr>
          <p:nvPr/>
        </p:nvSpPr>
        <p:spPr>
          <a:xfrm>
            <a:off x="251520" y="571702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Intersection cuts generation</a:t>
            </a:r>
          </a:p>
          <a:p>
            <a:pPr algn="l"/>
            <a:endParaRPr lang="en-US" sz="2400" b="1" dirty="0"/>
          </a:p>
          <a:p>
            <a:pPr algn="l"/>
            <a:endParaRPr lang="en-US" sz="2400" b="1" dirty="0"/>
          </a:p>
          <a:p>
            <a:pPr algn="l"/>
            <a:endParaRPr lang="en-US" sz="2400" b="1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72C3B1D-0C8D-4B34-A1E6-B4F53E6924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1828" y="1340768"/>
            <a:ext cx="6160343" cy="4357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907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42</a:t>
            </a:fld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795F48F-0F8F-40C2-A58A-BA26DD1197D4}"/>
              </a:ext>
            </a:extLst>
          </p:cNvPr>
          <p:cNvSpPr txBox="1"/>
          <p:nvPr/>
        </p:nvSpPr>
        <p:spPr>
          <a:xfrm>
            <a:off x="251520" y="1435998"/>
            <a:ext cx="8259994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dirty="0" err="1"/>
              <a:t>PPPs</a:t>
            </a:r>
            <a:r>
              <a:rPr lang="es-CO" dirty="0"/>
              <a:t> &amp; </a:t>
            </a:r>
            <a:r>
              <a:rPr lang="es-CO" dirty="0" err="1"/>
              <a:t>game</a:t>
            </a:r>
            <a:r>
              <a:rPr lang="es-CO" dirty="0"/>
              <a:t> </a:t>
            </a:r>
            <a:r>
              <a:rPr lang="es-CO" dirty="0" err="1"/>
              <a:t>theoretic</a:t>
            </a:r>
            <a:r>
              <a:rPr lang="es-CO" dirty="0"/>
              <a:t> </a:t>
            </a:r>
            <a:r>
              <a:rPr lang="es-CO" dirty="0" err="1"/>
              <a:t>context</a:t>
            </a:r>
            <a:r>
              <a:rPr lang="es-CO" dirty="0"/>
              <a:t> </a:t>
            </a:r>
            <a:r>
              <a:rPr lang="es-CO" dirty="0" err="1"/>
              <a:t>context</a:t>
            </a:r>
            <a:endParaRPr lang="es-C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dirty="0"/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s-CO" dirty="0" err="1"/>
              <a:t>Asymmetry</a:t>
            </a:r>
            <a:r>
              <a:rPr lang="es-CO" dirty="0"/>
              <a:t> </a:t>
            </a:r>
            <a:r>
              <a:rPr lang="es-CO" dirty="0" err="1"/>
              <a:t>of</a:t>
            </a:r>
            <a:r>
              <a:rPr lang="es-CO" dirty="0"/>
              <a:t> </a:t>
            </a:r>
            <a:r>
              <a:rPr lang="es-CO" dirty="0" err="1"/>
              <a:t>information</a:t>
            </a:r>
            <a:r>
              <a:rPr lang="es-CO" dirty="0"/>
              <a:t>; </a:t>
            </a:r>
            <a:r>
              <a:rPr lang="es-CO" dirty="0" err="1"/>
              <a:t>rationality</a:t>
            </a:r>
            <a:r>
              <a:rPr lang="es-CO" dirty="0"/>
              <a:t>.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s-CO" dirty="0"/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s-CO" dirty="0" err="1"/>
              <a:t>Realistic</a:t>
            </a:r>
            <a:r>
              <a:rPr lang="es-CO" dirty="0"/>
              <a:t> </a:t>
            </a:r>
            <a:r>
              <a:rPr lang="es-CO" dirty="0" err="1"/>
              <a:t>parameter</a:t>
            </a:r>
            <a:r>
              <a:rPr lang="es-CO" dirty="0"/>
              <a:t> </a:t>
            </a:r>
            <a:r>
              <a:rPr lang="es-CO" dirty="0" err="1"/>
              <a:t>calibration</a:t>
            </a:r>
            <a:r>
              <a:rPr lang="es-CO" dirty="0"/>
              <a:t>.</a:t>
            </a:r>
          </a:p>
          <a:p>
            <a:pPr lvl="1"/>
            <a:endParaRPr lang="es-C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dirty="0" err="1"/>
              <a:t>Computational</a:t>
            </a:r>
            <a:r>
              <a:rPr lang="es-CO" dirty="0"/>
              <a:t> </a:t>
            </a:r>
            <a:r>
              <a:rPr lang="es-CO" dirty="0" err="1"/>
              <a:t>aspects</a:t>
            </a:r>
            <a:endParaRPr lang="es-C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dirty="0"/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s-CO" dirty="0" err="1"/>
              <a:t>Pre-processing</a:t>
            </a:r>
            <a:r>
              <a:rPr lang="es-CO" dirty="0"/>
              <a:t> and </a:t>
            </a:r>
            <a:r>
              <a:rPr lang="es-CO" dirty="0" err="1"/>
              <a:t>bound</a:t>
            </a:r>
            <a:r>
              <a:rPr lang="es-CO" dirty="0"/>
              <a:t> </a:t>
            </a:r>
            <a:r>
              <a:rPr lang="es-CO" dirty="0" err="1"/>
              <a:t>generation</a:t>
            </a:r>
            <a:endParaRPr lang="es-C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dirty="0"/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s-CO" dirty="0" err="1"/>
              <a:t>Computational</a:t>
            </a:r>
            <a:r>
              <a:rPr lang="es-CO" dirty="0"/>
              <a:t> running time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Uncertainty model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/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b="1" dirty="0"/>
              <a:t>Uncertainty over model’s parameters (stochastic deterioration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b="1" dirty="0"/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b="1" dirty="0"/>
              <a:t>Risk averse approach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930DB2-9F33-4BB4-80A1-EDA75C2047A7}"/>
              </a:ext>
            </a:extLst>
          </p:cNvPr>
          <p:cNvSpPr txBox="1">
            <a:spLocks/>
          </p:cNvSpPr>
          <p:nvPr/>
        </p:nvSpPr>
        <p:spPr>
          <a:xfrm>
            <a:off x="251520" y="571702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Ongoing research based on M.Sc. project</a:t>
            </a:r>
          </a:p>
          <a:p>
            <a:pPr algn="l"/>
            <a:endParaRPr lang="en-US" sz="2400" b="1" dirty="0"/>
          </a:p>
          <a:p>
            <a:pPr algn="l"/>
            <a:endParaRPr lang="en-US" sz="2400" b="1" dirty="0"/>
          </a:p>
          <a:p>
            <a:pPr algn="l"/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37602452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43</a:t>
            </a:fld>
            <a:endParaRPr lang="es-ES" dirty="0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6987E73B-690C-4EA0-94B2-0A00AE6D8656}"/>
              </a:ext>
            </a:extLst>
          </p:cNvPr>
          <p:cNvSpPr/>
          <p:nvPr/>
        </p:nvSpPr>
        <p:spPr>
          <a:xfrm>
            <a:off x="2908735" y="2967335"/>
            <a:ext cx="332655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hD. </a:t>
            </a:r>
            <a:r>
              <a:rPr lang="es-ES" sz="5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Goals</a:t>
            </a:r>
            <a:endParaRPr lang="es-ES" sz="540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541505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44</a:t>
            </a:fld>
            <a:endParaRPr lang="es-ES" dirty="0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346BBA19-B4D3-41E7-BE9D-9CCB04C61752}"/>
              </a:ext>
            </a:extLst>
          </p:cNvPr>
          <p:cNvSpPr/>
          <p:nvPr/>
        </p:nvSpPr>
        <p:spPr>
          <a:xfrm>
            <a:off x="1526134" y="5373216"/>
            <a:ext cx="6091732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ealistic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decision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roblems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are </a:t>
            </a:r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affected</a:t>
            </a:r>
            <a:endParaRPr lang="es-ES" sz="240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by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b="1" cap="none" spc="0" dirty="0" err="1">
                <a:ln w="0"/>
                <a:solidFill>
                  <a:srgbClr val="C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uncertainty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and </a:t>
            </a:r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by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the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b="1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actions</a:t>
            </a:r>
            <a:r>
              <a:rPr lang="es-ES" sz="2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b="1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of</a:t>
            </a:r>
            <a:r>
              <a:rPr lang="es-ES" sz="2400" b="1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s-ES" sz="2400" b="1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others</a:t>
            </a:r>
            <a:endParaRPr lang="es-ES" sz="2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0CF8EBDA-26B2-49CE-9F56-746EC4DD2DB7}"/>
              </a:ext>
            </a:extLst>
          </p:cNvPr>
          <p:cNvSpPr txBox="1">
            <a:spLocks/>
          </p:cNvSpPr>
          <p:nvPr/>
        </p:nvSpPr>
        <p:spPr>
          <a:xfrm>
            <a:off x="251520" y="548970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Motivation</a:t>
            </a:r>
          </a:p>
        </p:txBody>
      </p:sp>
      <p:pic>
        <p:nvPicPr>
          <p:cNvPr id="77826" name="Picture 2">
            <a:extLst>
              <a:ext uri="{FF2B5EF4-FFF2-40B4-BE49-F238E27FC236}">
                <a16:creationId xmlns:a16="http://schemas.microsoft.com/office/drawing/2014/main" id="{3973E206-33BC-4FD1-8233-329BB90497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750" y="1524000"/>
            <a:ext cx="47625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562746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45</a:t>
            </a:fld>
            <a:endParaRPr lang="es-ES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8FFD8B36-3F9C-4CF6-AF77-2F3989BA0C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1610" y="1268760"/>
            <a:ext cx="7020780" cy="4812738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13E46BFA-8EBB-44E7-A330-0BB678DC1187}"/>
              </a:ext>
            </a:extLst>
          </p:cNvPr>
          <p:cNvSpPr/>
          <p:nvPr/>
        </p:nvSpPr>
        <p:spPr>
          <a:xfrm>
            <a:off x="4196190" y="6341848"/>
            <a:ext cx="388620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dirty="0"/>
              <a:t>Powell, W. B. (2019). </a:t>
            </a:r>
            <a:r>
              <a:rPr lang="en-US" sz="1050" b="1" dirty="0"/>
              <a:t>A unified framework for stochastic optimization</a:t>
            </a:r>
            <a:r>
              <a:rPr lang="en-US" sz="1050" dirty="0"/>
              <a:t>. European Journal of Operational Research, 275(3), 795-821.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D0568A1A-566C-4D8D-8741-749F3B13B828}"/>
              </a:ext>
            </a:extLst>
          </p:cNvPr>
          <p:cNvSpPr txBox="1">
            <a:spLocks/>
          </p:cNvSpPr>
          <p:nvPr/>
        </p:nvSpPr>
        <p:spPr>
          <a:xfrm>
            <a:off x="251520" y="548970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Future path</a:t>
            </a:r>
          </a:p>
        </p:txBody>
      </p:sp>
    </p:spTree>
    <p:extLst>
      <p:ext uri="{BB962C8B-B14F-4D97-AF65-F5344CB8AC3E}">
        <p14:creationId xmlns:p14="http://schemas.microsoft.com/office/powerpoint/2010/main" val="186150406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46</a:t>
            </a:fld>
            <a:endParaRPr lang="es-ES" dirty="0"/>
          </a:p>
        </p:txBody>
      </p:sp>
      <p:sp>
        <p:nvSpPr>
          <p:cNvPr id="5" name="Marcador de contenido 3">
            <a:extLst>
              <a:ext uri="{FF2B5EF4-FFF2-40B4-BE49-F238E27FC236}">
                <a16:creationId xmlns:a16="http://schemas.microsoft.com/office/drawing/2014/main" id="{7893B022-6896-4C5B-B015-BFC8CE3D7A47}"/>
              </a:ext>
            </a:extLst>
          </p:cNvPr>
          <p:cNvSpPr txBox="1">
            <a:spLocks/>
          </p:cNvSpPr>
          <p:nvPr/>
        </p:nvSpPr>
        <p:spPr>
          <a:xfrm>
            <a:off x="571505" y="1408113"/>
            <a:ext cx="8115295" cy="4913312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342882" indent="-34288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13" indent="-285737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2942" indent="-22858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120" indent="-22858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298" indent="-22858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Decision trees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tochastic search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ptimal stopping 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ptimal control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Markov decision processes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pproximate</a:t>
            </a: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/adaptive/neuro-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dynamic programming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Reinforcement learning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nline algorithms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Model predictive control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tochastic programming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Robust optimization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Ranking and selection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imulation optimization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Multiarmed bandit problems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Partially observable Markov decision processes.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CECD5B1-1B44-4157-8FA9-F1B7EB7A99BB}"/>
              </a:ext>
            </a:extLst>
          </p:cNvPr>
          <p:cNvSpPr/>
          <p:nvPr/>
        </p:nvSpPr>
        <p:spPr>
          <a:xfrm>
            <a:off x="6516216" y="6335742"/>
            <a:ext cx="130997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ómez et al. (2020)</a:t>
            </a:r>
            <a:endParaRPr lang="es-CO" sz="1100" dirty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EB9290B7-797C-421D-BB0A-54DAB768B924}"/>
              </a:ext>
            </a:extLst>
          </p:cNvPr>
          <p:cNvSpPr txBox="1">
            <a:spLocks/>
          </p:cNvSpPr>
          <p:nvPr/>
        </p:nvSpPr>
        <p:spPr>
          <a:xfrm>
            <a:off x="251520" y="548970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earch areas dealing with this problem</a:t>
            </a:r>
          </a:p>
        </p:txBody>
      </p:sp>
    </p:spTree>
    <p:extLst>
      <p:ext uri="{BB962C8B-B14F-4D97-AF65-F5344CB8AC3E}">
        <p14:creationId xmlns:p14="http://schemas.microsoft.com/office/powerpoint/2010/main" val="64580632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47</a:t>
            </a:fld>
            <a:endParaRPr lang="es-ES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CECD5B1-1B44-4157-8FA9-F1B7EB7A99BB}"/>
              </a:ext>
            </a:extLst>
          </p:cNvPr>
          <p:cNvSpPr/>
          <p:nvPr/>
        </p:nvSpPr>
        <p:spPr>
          <a:xfrm>
            <a:off x="6516216" y="6335742"/>
            <a:ext cx="130997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ómez et al. (2020)</a:t>
            </a:r>
            <a:endParaRPr lang="es-CO" sz="1100" dirty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EB9290B7-797C-421D-BB0A-54DAB768B924}"/>
              </a:ext>
            </a:extLst>
          </p:cNvPr>
          <p:cNvSpPr txBox="1">
            <a:spLocks/>
          </p:cNvSpPr>
          <p:nvPr/>
        </p:nvSpPr>
        <p:spPr>
          <a:xfrm>
            <a:off x="251520" y="548970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The components of the proble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Marcador de contenido 3">
                <a:extLst>
                  <a:ext uri="{FF2B5EF4-FFF2-40B4-BE49-F238E27FC236}">
                    <a16:creationId xmlns:a16="http://schemas.microsoft.com/office/drawing/2014/main" id="{47D375AD-0F1D-4CCA-B3F7-9A79126CED5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9512" y="1824634"/>
                <a:ext cx="11089217" cy="491331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342882" indent="-342882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•"/>
                  <a:defRPr sz="2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1pPr>
                <a:lvl2pPr marL="742913" indent="-285737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sz="2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2pPr>
                <a:lvl3pPr marL="1142942" indent="-2285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•"/>
                  <a:defRPr sz="20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1600120" indent="-2285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sz="1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4pPr>
                <a:lvl5pPr marL="2057298" indent="-228589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1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5pPr>
                <a:lvl6pPr marL="2514474" indent="-228589" algn="l" defTabSz="914354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52" indent="-228589" algn="l" defTabSz="914354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29" indent="-228589" algn="l" defTabSz="914354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06" indent="-228589" algn="l" defTabSz="914354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882" marR="0" lvl="0" indent="-342882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State variables: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𝑆</m:t>
                        </m:r>
                      </m:e>
                      <m:sub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𝑡</m:t>
                        </m:r>
                      </m:sub>
                    </m:sSub>
                  </m:oMath>
                </a14:m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342882" marR="0" lvl="0" indent="-342882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endParaRPr kumimoji="0" lang="es-CO" sz="20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342882" marR="0" lvl="0" indent="-342882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r>
                  <a:rPr kumimoji="0" lang="es-CO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Decision</a:t>
                </a:r>
                <a:r>
                  <a:rPr kumimoji="0" lang="es-CO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 variables: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𝑡</m:t>
                        </m:r>
                      </m:sub>
                    </m:sSub>
                    <m:r>
                      <a:rPr kumimoji="0" 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=</m:t>
                    </m:r>
                    <m:sSup>
                      <m:sSupPr>
                        <m:ctrlP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pPr>
                      <m:e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𝑋</m:t>
                        </m:r>
                      </m:e>
                      <m:sup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𝑆</m:t>
                            </m:r>
                          </m:e>
                          <m:sub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𝑡</m:t>
                            </m:r>
                          </m:sub>
                        </m:sSub>
                      </m:e>
                    </m:d>
                  </m:oMath>
                </a14:m>
                <a:endParaRPr kumimoji="0" lang="es-CO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342882" marR="0" lvl="0" indent="-342882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endParaRPr kumimoji="0" lang="es-CO" sz="20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342882" marR="0" lvl="0" indent="-342882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r>
                  <a:rPr kumimoji="0" lang="es-CO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Exogenous</a:t>
                </a:r>
                <a:r>
                  <a:rPr kumimoji="0" lang="es-CO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 </a:t>
                </a:r>
                <a:r>
                  <a:rPr kumimoji="0" lang="es-CO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info</a:t>
                </a:r>
                <a:r>
                  <a:rPr kumimoji="0" lang="es-CO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.: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𝑊</m:t>
                        </m:r>
                      </m:e>
                      <m:sub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𝑡</m:t>
                        </m:r>
                      </m:sub>
                    </m:sSub>
                  </m:oMath>
                </a14:m>
                <a:endParaRPr kumimoji="0" lang="es-CO" sz="20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342882" marR="0" lvl="0" indent="-342882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endParaRPr kumimoji="0" lang="es-CO" sz="20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342882" marR="0" lvl="0" indent="-342882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r>
                  <a:rPr kumimoji="0" lang="es-CO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Transition</a:t>
                </a:r>
                <a:r>
                  <a:rPr kumimoji="0" lang="es-CO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 </a:t>
                </a:r>
                <a:r>
                  <a:rPr kumimoji="0" lang="es-CO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function</a:t>
                </a:r>
                <a:r>
                  <a:rPr kumimoji="0" lang="es-CO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: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𝑆</m:t>
                        </m:r>
                      </m:e>
                      <m:sub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𝑡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+1</m:t>
                        </m:r>
                      </m:sub>
                    </m:sSub>
                    <m:r>
                      <a:rPr kumimoji="0" 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=</m:t>
                    </m:r>
                    <m:r>
                      <a:rPr kumimoji="0" 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𝑆</m:t>
                    </m:r>
                    <m:d>
                      <m:dPr>
                        <m:ctrlP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𝑆</m:t>
                            </m:r>
                          </m:e>
                          <m:sub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𝑡</m:t>
                            </m:r>
                          </m:sub>
                        </m:sSub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, </m:t>
                        </m:r>
                        <m:sSub>
                          <m:sSubPr>
                            <m:ctrlP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𝑥</m:t>
                            </m:r>
                          </m:e>
                          <m:sub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𝑡</m:t>
                            </m:r>
                          </m:sub>
                        </m:sSub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,</m:t>
                        </m:r>
                        <m:sSub>
                          <m:sSubPr>
                            <m:ctrlP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𝑊</m:t>
                            </m:r>
                          </m:e>
                          <m:sub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𝑡</m:t>
                            </m:r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+1</m:t>
                            </m:r>
                          </m:sub>
                        </m:sSub>
                      </m:e>
                    </m:d>
                  </m:oMath>
                </a14:m>
                <a:endParaRPr kumimoji="0" lang="es-CO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342882" marR="0" lvl="0" indent="-342882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endParaRPr kumimoji="0" lang="es-CO" sz="20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342882" marR="0" lvl="0" indent="-342882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r>
                  <a:rPr kumimoji="0" lang="es-CO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Objective</a:t>
                </a:r>
                <a:r>
                  <a:rPr kumimoji="0" lang="es-CO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 </a:t>
                </a:r>
                <a:r>
                  <a:rPr kumimoji="0" lang="es-CO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function</a:t>
                </a:r>
                <a:r>
                  <a:rPr kumimoji="0" lang="es-CO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 Light" panose="020F0302020204030204"/>
                    <a:ea typeface="+mn-ea"/>
                    <a:cs typeface="+mn-cs"/>
                  </a:rPr>
                  <a:t>: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𝐶</m:t>
                        </m:r>
                      </m:e>
                      <m:sub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𝑡</m:t>
                        </m:r>
                      </m:sub>
                    </m:sSub>
                    <m:d>
                      <m:dPr>
                        <m:ctrlP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𝑆</m:t>
                            </m:r>
                          </m:e>
                          <m:sub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𝑡</m:t>
                            </m:r>
                          </m:sub>
                        </m:sSub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, </m:t>
                        </m:r>
                        <m:sSup>
                          <m:sSupPr>
                            <m:ctrlP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pPr>
                          <m:e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 </m:t>
                            </m:r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𝑋</m:t>
                            </m:r>
                          </m:e>
                          <m:sup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𝜋</m:t>
                            </m:r>
                          </m:sup>
                        </m:sSup>
                        <m:d>
                          <m:dPr>
                            <m:ctrlP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kumimoji="0" lang="en-US" sz="20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FF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</m:ctrlPr>
                              </m:sSubPr>
                              <m:e>
                                <m:r>
                                  <a:rPr kumimoji="0" lang="en-US" sz="20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FF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𝑆</m:t>
                                </m:r>
                              </m:e>
                              <m:sub>
                                <m:r>
                                  <a:rPr kumimoji="0" lang="en-US" sz="2000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FF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𝑡</m:t>
                                </m:r>
                              </m:sub>
                            </m:sSub>
                          </m:e>
                        </m:d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, </m:t>
                        </m:r>
                        <m:sSub>
                          <m:sSubPr>
                            <m:ctrlP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 </m:t>
                            </m:r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𝑊</m:t>
                            </m:r>
                          </m:e>
                          <m:sub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𝑡</m:t>
                            </m:r>
                            <m:r>
                              <a:rPr kumimoji="0" lang="en-US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FF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  <m:t>+1</m:t>
                            </m:r>
                          </m:sub>
                        </m:sSub>
                      </m:e>
                    </m:d>
                  </m:oMath>
                </a14:m>
                <a:endParaRPr kumimoji="0" lang="es-CO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  <a:p>
                <a:pPr marL="342882" marR="0" lvl="0" indent="-342882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 typeface="Arial" charset="0"/>
                  <a:buChar char="•"/>
                  <a:tabLst/>
                  <a:defRPr/>
                </a:pP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Marcador de contenido 3">
                <a:extLst>
                  <a:ext uri="{FF2B5EF4-FFF2-40B4-BE49-F238E27FC236}">
                    <a16:creationId xmlns:a16="http://schemas.microsoft.com/office/drawing/2014/main" id="{47D375AD-0F1D-4CCA-B3F7-9A79126CED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2" y="1824634"/>
                <a:ext cx="11089217" cy="4913312"/>
              </a:xfrm>
              <a:prstGeom prst="rect">
                <a:avLst/>
              </a:prstGeom>
              <a:blipFill>
                <a:blip r:embed="rId3"/>
                <a:stretch>
                  <a:fillRect l="-495" t="-620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Imagen 1">
            <a:extLst>
              <a:ext uri="{FF2B5EF4-FFF2-40B4-BE49-F238E27FC236}">
                <a16:creationId xmlns:a16="http://schemas.microsoft.com/office/drawing/2014/main" id="{39B34841-4DDA-4220-8B86-BB530678CB8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669" r="11764"/>
          <a:stretch/>
        </p:blipFill>
        <p:spPr>
          <a:xfrm>
            <a:off x="5580112" y="3163707"/>
            <a:ext cx="3631233" cy="690322"/>
          </a:xfrm>
          <a:prstGeom prst="rect">
            <a:avLst/>
          </a:prstGeom>
        </p:spPr>
      </p:pic>
      <p:sp>
        <p:nvSpPr>
          <p:cNvPr id="4" name="Cerrar llave 3">
            <a:extLst>
              <a:ext uri="{FF2B5EF4-FFF2-40B4-BE49-F238E27FC236}">
                <a16:creationId xmlns:a16="http://schemas.microsoft.com/office/drawing/2014/main" id="{73ACD23F-3213-43F0-9AF4-29941F52A5B9}"/>
              </a:ext>
            </a:extLst>
          </p:cNvPr>
          <p:cNvSpPr/>
          <p:nvPr/>
        </p:nvSpPr>
        <p:spPr>
          <a:xfrm>
            <a:off x="5245807" y="1700808"/>
            <a:ext cx="262297" cy="3521373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FD658939-6A1B-495B-9008-ACD18748ED68}"/>
                  </a:ext>
                </a:extLst>
              </p:cNvPr>
              <p:cNvSpPr/>
              <p:nvPr/>
            </p:nvSpPr>
            <p:spPr>
              <a:xfrm>
                <a:off x="2257460" y="5640499"/>
                <a:ext cx="4357464" cy="33855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Curse</m:t>
                      </m:r>
                      <m: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of</m:t>
                      </m:r>
                      <m: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dimensionality</m:t>
                      </m:r>
                      <m: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:</m:t>
                      </m:r>
                      <m:d>
                        <m:dPr>
                          <m:begChr m:val="|"/>
                          <m:endChr m:val="|"/>
                          <m:ctrlPr>
                            <a:rPr lang="es-CO" sz="1600" b="0" i="1" cap="none" spc="0" smtClean="0">
                              <a:ln w="0"/>
                              <a:solidFill>
                                <a:srgbClr val="FF0000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s-CO" sz="1600" b="0" i="0" cap="none" spc="0" smtClean="0">
                              <a:ln w="0"/>
                              <a:solidFill>
                                <a:srgbClr val="FF0000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S</m:t>
                          </m:r>
                        </m:e>
                      </m:d>
                      <m: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x</m:t>
                      </m:r>
                      <m: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d>
                        <m:dPr>
                          <m:begChr m:val="|"/>
                          <m:endChr m:val="|"/>
                          <m:ctrlPr>
                            <a:rPr lang="es-CO" sz="1600" b="0" i="1" cap="none" spc="0" smtClean="0">
                              <a:ln w="0"/>
                              <a:solidFill>
                                <a:srgbClr val="FF0000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s-CO" sz="1600" b="0" i="0" cap="none" spc="0" smtClean="0">
                              <a:ln w="0"/>
                              <a:solidFill>
                                <a:srgbClr val="FF0000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A</m:t>
                          </m:r>
                        </m:e>
                      </m:d>
                      <m: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x</m:t>
                      </m:r>
                      <m: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d>
                        <m:dPr>
                          <m:begChr m:val="|"/>
                          <m:endChr m:val="|"/>
                          <m:ctrlPr>
                            <a:rPr lang="es-CO" sz="1600" b="0" i="1" cap="none" spc="0" smtClean="0">
                              <a:ln w="0"/>
                              <a:solidFill>
                                <a:srgbClr val="FF0000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s-CO" sz="1600" b="0" i="0" cap="none" spc="0" smtClean="0">
                              <a:ln w="0"/>
                              <a:solidFill>
                                <a:srgbClr val="FF0000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P</m:t>
                          </m:r>
                        </m:e>
                      </m:d>
                      <m: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x</m:t>
                      </m:r>
                      <m: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|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T</m:t>
                      </m:r>
                      <m:r>
                        <a:rPr lang="es-CO" sz="1600" b="0" i="0" cap="none" spc="0" smtClean="0">
                          <a:ln w="0"/>
                          <a:solidFill>
                            <a:srgbClr val="FF000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|</m:t>
                      </m:r>
                    </m:oMath>
                  </m:oMathPara>
                </a14:m>
                <a:endParaRPr lang="es-ES" sz="1600" cap="none" spc="0" dirty="0">
                  <a:ln w="0"/>
                  <a:solidFill>
                    <a:srgbClr val="FF000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FD658939-6A1B-495B-9008-ACD18748ED6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7460" y="5640499"/>
                <a:ext cx="4357464" cy="338554"/>
              </a:xfrm>
              <a:prstGeom prst="rect">
                <a:avLst/>
              </a:prstGeom>
              <a:blipFill>
                <a:blip r:embed="rId5"/>
                <a:stretch>
                  <a:fillRect b="-1785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71005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77892B8-B69F-4DDB-8EEB-C4A5EA3189C7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48</a:t>
            </a:fld>
            <a:endParaRPr lang="es-ES">
              <a:solidFill>
                <a:prstClr val="black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3"/>
          <a:srcRect l="30895" t="55724" r="29590" b="27949"/>
          <a:stretch/>
        </p:blipFill>
        <p:spPr>
          <a:xfrm>
            <a:off x="1421033" y="2341443"/>
            <a:ext cx="6051117" cy="1405643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4"/>
          <a:srcRect l="31903" t="55923" r="30709" b="29144"/>
          <a:stretch/>
        </p:blipFill>
        <p:spPr>
          <a:xfrm>
            <a:off x="1686456" y="3866584"/>
            <a:ext cx="5561190" cy="1248770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70960F17-1C8F-4D00-A124-6C46C16B83A0}"/>
              </a:ext>
            </a:extLst>
          </p:cNvPr>
          <p:cNvSpPr txBox="1"/>
          <p:nvPr/>
        </p:nvSpPr>
        <p:spPr>
          <a:xfrm>
            <a:off x="2277036" y="3257781"/>
            <a:ext cx="45899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dirty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7AE621A1-C983-4313-8800-8D0B3AFB370F}"/>
              </a:ext>
            </a:extLst>
          </p:cNvPr>
          <p:cNvSpPr txBox="1">
            <a:spLocks/>
          </p:cNvSpPr>
          <p:nvPr/>
        </p:nvSpPr>
        <p:spPr>
          <a:xfrm>
            <a:off x="251520" y="548970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Basic idea of approximate dynamic programming</a:t>
            </a:r>
          </a:p>
        </p:txBody>
      </p:sp>
    </p:spTree>
    <p:extLst>
      <p:ext uri="{BB962C8B-B14F-4D97-AF65-F5344CB8AC3E}">
        <p14:creationId xmlns:p14="http://schemas.microsoft.com/office/powerpoint/2010/main" val="300276765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49</a:t>
            </a:fld>
            <a:endParaRPr lang="es-E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6987E73B-690C-4EA0-94B2-0A00AE6D8656}"/>
                  </a:ext>
                </a:extLst>
              </p:cNvPr>
              <p:cNvSpPr/>
              <p:nvPr/>
            </p:nvSpPr>
            <p:spPr>
              <a:xfrm>
                <a:off x="-612576" y="2572741"/>
                <a:ext cx="2976403" cy="92826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s-CO" b="0" i="1" cap="none" spc="0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s-CO" b="0" i="0" cap="none" spc="0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min</m:t>
                          </m:r>
                        </m:fName>
                        <m:e>
                          <m:sSup>
                            <m:sSupPr>
                              <m:ctrlPr>
                                <a:rPr lang="es-CO" b="0" i="1" cap="none" spc="0" smtClean="0">
                                  <a:ln w="0"/>
                                  <a:solidFill>
                                    <a:schemeClr val="tx1"/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s-CO" b="0" i="0" cap="none" spc="0" smtClean="0">
                                  <a:ln w="0"/>
                                  <a:solidFill>
                                    <a:schemeClr val="tx1"/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c</m:t>
                              </m:r>
                            </m:e>
                            <m:sup>
                              <m:r>
                                <m:rPr>
                                  <m:sty m:val="p"/>
                                </m:rPr>
                                <a:rPr lang="es-CO" b="0" i="0" cap="none" spc="0" smtClean="0">
                                  <a:ln w="0"/>
                                  <a:solidFill>
                                    <a:schemeClr val="tx1"/>
                                  </a:solidFill>
                                  <a:effectLst>
                                    <a:outerShdw blurRad="38100" dist="19050" dir="2700000" algn="tl" rotWithShape="0">
                                      <a:schemeClr val="dk1">
                                        <a:alpha val="40000"/>
                                      </a:scheme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T</m:t>
                              </m:r>
                            </m:sup>
                          </m:sSup>
                          <m:r>
                            <m:rPr>
                              <m:sty m:val="p"/>
                            </m:rPr>
                            <a:rPr lang="es-CO" b="0" i="0" cap="none" spc="0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x</m:t>
                          </m:r>
                        </m:e>
                      </m:func>
                    </m:oMath>
                  </m:oMathPara>
                </a14:m>
                <a:endParaRPr lang="es-CO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algn="ctr"/>
                <a:r>
                  <a:rPr lang="es-ES" cap="none" spc="0" dirty="0" err="1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Cambria" panose="02040503050406030204" pitchFamily="18" charset="0"/>
                    <a:ea typeface="Cambria" panose="02040503050406030204" pitchFamily="18" charset="0"/>
                  </a:rPr>
                  <a:t>s.t</a:t>
                </a:r>
                <a:r>
                  <a:rPr lang="es-ES" cap="none" spc="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Cambria" panose="02040503050406030204" pitchFamily="18" charset="0"/>
                    <a:ea typeface="Cambria" panose="02040503050406030204" pitchFamily="18" charset="0"/>
                  </a:rPr>
                  <a:t>.,</a:t>
                </a:r>
              </a:p>
              <a:p>
                <a:pPr algn="ctr"/>
                <a:r>
                  <a:rPr lang="es-ES" dirty="0" err="1">
                    <a:ln w="0"/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Cambria" panose="02040503050406030204" pitchFamily="18" charset="0"/>
                    <a:ea typeface="Cambria" panose="02040503050406030204" pitchFamily="18" charset="0"/>
                  </a:rPr>
                  <a:t>Ax</a:t>
                </a:r>
                <a:r>
                  <a:rPr lang="es-ES" dirty="0">
                    <a:ln w="0"/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Cambria" panose="02040503050406030204" pitchFamily="18" charset="0"/>
                    <a:ea typeface="Cambria" panose="02040503050406030204" pitchFamily="18" charset="0"/>
                  </a:rPr>
                  <a:t> = b</a:t>
                </a:r>
                <a:endParaRPr lang="es-ES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6987E73B-690C-4EA0-94B2-0A00AE6D865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612576" y="2572741"/>
                <a:ext cx="2976403" cy="928267"/>
              </a:xfrm>
              <a:prstGeom prst="rect">
                <a:avLst/>
              </a:prstGeom>
              <a:blipFill>
                <a:blip r:embed="rId3"/>
                <a:stretch>
                  <a:fillRect b="-11842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42D34C73-B624-43CA-90A1-F2F791F4EB5C}"/>
                  </a:ext>
                </a:extLst>
              </p:cNvPr>
              <p:cNvSpPr/>
              <p:nvPr/>
            </p:nvSpPr>
            <p:spPr>
              <a:xfrm>
                <a:off x="-612576" y="1342509"/>
                <a:ext cx="2976403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CO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From</m:t>
                      </m:r>
                      <m:r>
                        <a:rPr lang="es-CO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:</m:t>
                      </m:r>
                    </m:oMath>
                  </m:oMathPara>
                </a14:m>
                <a:endParaRPr lang="es-CO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algn="ctr"/>
                <a:r>
                  <a:rPr lang="es-ES" cap="none" spc="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Cambria" panose="02040503050406030204" pitchFamily="18" charset="0"/>
                    <a:ea typeface="Cambria" panose="02040503050406030204" pitchFamily="18" charset="0"/>
                  </a:rPr>
                  <a:t>MIPS</a:t>
                </a:r>
              </a:p>
            </p:txBody>
          </p:sp>
        </mc:Choice>
        <mc:Fallback xmlns="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42D34C73-B624-43CA-90A1-F2F791F4EB5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612576" y="1342509"/>
                <a:ext cx="2976403" cy="646331"/>
              </a:xfrm>
              <a:prstGeom prst="rect">
                <a:avLst/>
              </a:prstGeom>
              <a:blipFill>
                <a:blip r:embed="rId4"/>
                <a:stretch>
                  <a:fillRect b="-16981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ángulo 6">
                <a:extLst>
                  <a:ext uri="{FF2B5EF4-FFF2-40B4-BE49-F238E27FC236}">
                    <a16:creationId xmlns:a16="http://schemas.microsoft.com/office/drawing/2014/main" id="{10428C52-36B0-42FF-BCD2-F5112395BF9C}"/>
                  </a:ext>
                </a:extLst>
              </p:cNvPr>
              <p:cNvSpPr/>
              <p:nvPr/>
            </p:nvSpPr>
            <p:spPr>
              <a:xfrm>
                <a:off x="2257460" y="5640499"/>
                <a:ext cx="4357464" cy="33855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Curse</m:t>
                      </m:r>
                      <m: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of</m:t>
                      </m:r>
                      <m: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dimensionality</m:t>
                      </m:r>
                      <m: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:</m:t>
                      </m:r>
                      <m:d>
                        <m:dPr>
                          <m:begChr m:val="|"/>
                          <m:endChr m:val="|"/>
                          <m:ctrlPr>
                            <a:rPr lang="es-CO" sz="1600" b="0" i="1" cap="none" spc="0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s-CO" sz="1600" b="0" i="0" cap="none" spc="0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S</m:t>
                          </m:r>
                        </m:e>
                      </m:d>
                      <m: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x</m:t>
                      </m:r>
                      <m: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d>
                        <m:dPr>
                          <m:begChr m:val="|"/>
                          <m:endChr m:val="|"/>
                          <m:ctrlPr>
                            <a:rPr lang="es-CO" sz="1600" b="0" i="1" cap="none" spc="0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s-CO" sz="1600" b="0" i="0" cap="none" spc="0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A</m:t>
                          </m:r>
                        </m:e>
                      </m:d>
                      <m: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x</m:t>
                      </m:r>
                      <m: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d>
                        <m:dPr>
                          <m:begChr m:val="|"/>
                          <m:endChr m:val="|"/>
                          <m:ctrlPr>
                            <a:rPr lang="es-CO" sz="1600" b="0" i="1" cap="none" spc="0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s-CO" sz="1600" b="0" i="0" cap="none" spc="0" smtClean="0">
                              <a:ln w="0"/>
                              <a:solidFill>
                                <a:schemeClr val="tx1"/>
                              </a:solidFill>
                              <a:effectLst>
                                <a:outerShdw blurRad="38100" dist="19050" dir="2700000" algn="tl" rotWithShape="0">
                                  <a:schemeClr val="dk1">
                                    <a:alpha val="40000"/>
                                  </a:scheme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P</m:t>
                          </m:r>
                        </m:e>
                      </m:d>
                      <m: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x</m:t>
                      </m:r>
                      <m: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|</m:t>
                      </m:r>
                      <m:r>
                        <m:rPr>
                          <m:sty m:val="p"/>
                        </m:rP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T</m:t>
                      </m:r>
                      <m:r>
                        <a:rPr lang="es-CO" sz="1600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|</m:t>
                      </m:r>
                    </m:oMath>
                  </m:oMathPara>
                </a14:m>
                <a:endParaRPr lang="es-ES" sz="160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7" name="Rectángulo 6">
                <a:extLst>
                  <a:ext uri="{FF2B5EF4-FFF2-40B4-BE49-F238E27FC236}">
                    <a16:creationId xmlns:a16="http://schemas.microsoft.com/office/drawing/2014/main" id="{10428C52-36B0-42FF-BCD2-F5112395BF9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7460" y="5640499"/>
                <a:ext cx="4357464" cy="338554"/>
              </a:xfrm>
              <a:prstGeom prst="rect">
                <a:avLst/>
              </a:prstGeom>
              <a:blipFill>
                <a:blip r:embed="rId5"/>
                <a:stretch>
                  <a:fillRect b="-1785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31003CC5-5204-467D-B419-C50B4DD2E523}"/>
                  </a:ext>
                </a:extLst>
              </p:cNvPr>
              <p:cNvSpPr txBox="1"/>
              <p:nvPr/>
            </p:nvSpPr>
            <p:spPr>
              <a:xfrm>
                <a:off x="3324877" y="2731004"/>
                <a:ext cx="6456646" cy="71686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s-CO" sz="1600" b="0" i="1" u="none" strike="noStrike" kern="1200" cap="none" spc="0" normalizeH="0" baseline="0" noProof="0" smtClean="0">
                          <a:ln w="0"/>
                          <a:solidFill>
                            <a:prstClr val="black"/>
                          </a:solidFill>
                          <a:effectLst>
                            <a:outerShdw blurRad="38100" dist="1905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uLnTx/>
                          <a:uFillTx/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𝑣</m:t>
                      </m:r>
                      <m:d>
                        <m:dPr>
                          <m:ctrlPr>
                            <a:rPr kumimoji="0" lang="es-CO" sz="1600" b="0" i="1" u="none" strike="noStrike" kern="1200" cap="none" spc="0" normalizeH="0" baseline="0" noProof="0" smtClean="0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uLnTx/>
                              <a:uFillTx/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</m:ctrlPr>
                        </m:dPr>
                        <m:e>
                          <m:r>
                            <a:rPr kumimoji="0" lang="es-CO" sz="1600" b="0" i="1" u="none" strike="noStrike" kern="1200" cap="none" spc="0" normalizeH="0" baseline="0" noProof="0" smtClean="0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uLnTx/>
                              <a:uFillTx/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kumimoji="0" lang="es-CO" sz="1600" b="0" i="1" u="none" strike="noStrike" kern="1200" cap="none" spc="0" normalizeH="0" baseline="0" noProof="0" smtClean="0">
                          <a:ln w="0"/>
                          <a:solidFill>
                            <a:prstClr val="black"/>
                          </a:solidFill>
                          <a:effectLst>
                            <a:outerShdw blurRad="38100" dist="1905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uLnTx/>
                          <a:uFillTx/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kumimoji="0" lang="es-CO" sz="1600" b="0" i="1" u="none" strike="noStrike" kern="1200" cap="none" spc="0" normalizeH="0" baseline="0" noProof="0" smtClean="0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uLnTx/>
                              <a:uFillTx/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</m:ctrlPr>
                        </m:naryPr>
                        <m:sub>
                          <m:r>
                            <a:rPr kumimoji="0" lang="es-CO" sz="1600" b="0" i="1" u="none" strike="noStrike" kern="1200" cap="none" spc="0" normalizeH="0" baseline="0" noProof="0" smtClean="0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uLnTx/>
                              <a:uFillTx/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𝑎</m:t>
                          </m:r>
                        </m:sub>
                        <m:sup/>
                        <m:e>
                          <m:r>
                            <a:rPr kumimoji="0" lang="es-CO" sz="1600" b="0" i="1" u="none" strike="noStrike" kern="1200" cap="none" spc="0" normalizeH="0" baseline="0" noProof="0" smtClean="0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uLnTx/>
                              <a:uFillTx/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𝜋</m:t>
                          </m:r>
                          <m:d>
                            <m:dPr>
                              <m:ctrlPr>
                                <a:rPr kumimoji="0" lang="es-CO" sz="1600" b="0" i="1" u="none" strike="noStrike" kern="1200" cap="none" spc="0" normalizeH="0" baseline="0" noProof="0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uLnTx/>
                                  <a:uFillTx/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kumimoji="0" lang="es-CO" sz="1600" b="0" i="1" u="none" strike="noStrike" kern="1200" cap="none" spc="0" normalizeH="0" baseline="0" noProof="0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uLnTx/>
                                  <a:uFillTx/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𝑎</m:t>
                              </m:r>
                            </m:e>
                            <m:e>
                              <m:r>
                                <a:rPr kumimoji="0" lang="es-CO" sz="1600" b="0" i="1" u="none" strike="noStrike" kern="1200" cap="none" spc="0" normalizeH="0" baseline="0" noProof="0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uLnTx/>
                                  <a:uFillTx/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kumimoji="0" lang="es-CO" sz="1600" b="0" i="1" u="none" strike="noStrike" kern="1200" cap="none" spc="0" normalizeH="0" baseline="0" noProof="0" smtClean="0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uLnTx/>
                              <a:uFillTx/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⋅</m:t>
                          </m:r>
                        </m:e>
                      </m:nary>
                      <m:nary>
                        <m:naryPr>
                          <m:chr m:val="∑"/>
                          <m:supHide m:val="on"/>
                          <m:ctrlPr>
                            <a:rPr lang="es-CO" sz="1600" i="1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</m:ctrlPr>
                        </m:naryPr>
                        <m:sub>
                          <m:sSup>
                            <m:sSupPr>
                              <m:ctrlP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s-CO" sz="1600" b="0" i="1" smtClean="0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,</m:t>
                          </m:r>
                          <m:r>
                            <a:rPr lang="es-CO" sz="1600" b="0" i="1" smtClean="0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𝑟</m:t>
                          </m:r>
                          <m:r>
                            <a:rPr lang="es-CO" sz="1600" b="0" i="1" smtClean="0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 </m:t>
                          </m:r>
                        </m:sub>
                        <m:sup/>
                        <m:e>
                          <m:r>
                            <a:rPr lang="es-CO" sz="1600" b="0" i="1" smtClean="0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𝑝</m:t>
                          </m:r>
                          <m:d>
                            <m:dPr>
                              <m:ctrlP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s-CO" sz="1600" b="0" i="1" smtClean="0">
                                      <a:ln w="0"/>
                                      <a:solidFill>
                                        <a:prstClr val="black"/>
                                      </a:solidFill>
                                      <a:effectLst>
                                        <a:outerShdw blurRad="38100" dist="19050" dir="2700000" algn="tl" rotWithShape="0">
                                          <a:prstClr val="black">
                                            <a:alpha val="40000"/>
                                          </a:prstClr>
                                        </a:outerShdw>
                                      </a:effectLst>
                                      <a:latin typeface="Cambria Math" panose="02040503050406030204" pitchFamily="18" charset="0"/>
                                      <a:ea typeface="Cambria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s-CO" sz="1600" b="0" i="1" smtClean="0">
                                      <a:ln w="0"/>
                                      <a:solidFill>
                                        <a:prstClr val="black"/>
                                      </a:solidFill>
                                      <a:effectLst>
                                        <a:outerShdw blurRad="38100" dist="19050" dir="2700000" algn="tl" rotWithShape="0">
                                          <a:prstClr val="black">
                                            <a:alpha val="40000"/>
                                          </a:prstClr>
                                        </a:outerShdw>
                                      </a:effectLst>
                                      <a:latin typeface="Cambria Math" panose="02040503050406030204" pitchFamily="18" charset="0"/>
                                      <a:ea typeface="Cambria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s-CO" sz="1600" b="0" i="1" smtClean="0">
                                      <a:ln w="0"/>
                                      <a:solidFill>
                                        <a:prstClr val="black"/>
                                      </a:solidFill>
                                      <a:effectLst>
                                        <a:outerShdw blurRad="38100" dist="19050" dir="2700000" algn="tl" rotWithShape="0">
                                          <a:prstClr val="black">
                                            <a:alpha val="40000"/>
                                          </a:prstClr>
                                        </a:outerShdw>
                                      </a:effectLst>
                                      <a:latin typeface="Cambria Math" panose="02040503050406030204" pitchFamily="18" charset="0"/>
                                      <a:ea typeface="Cambria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,</m:t>
                              </m:r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𝑟</m:t>
                              </m:r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|</m:t>
                              </m:r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𝑠</m:t>
                              </m:r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,</m:t>
                              </m:r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𝑎</m:t>
                              </m:r>
                            </m:e>
                          </m:d>
                          <m:r>
                            <a:rPr lang="es-CO" sz="1600" i="1">
                              <a:ln w="0"/>
                              <a:solidFill>
                                <a:prstClr val="black"/>
                              </a:solidFill>
                              <a:effectLst>
                                <a:outerShdw blurRad="38100" dist="19050" dir="2700000" algn="tl" rotWithShape="0">
                                  <a:prstClr val="black">
                                    <a:alpha val="40000"/>
                                  </a:prstClr>
                                </a:outerShdw>
                              </a:effectLst>
                              <a:latin typeface="Cambria Math" panose="02040503050406030204" pitchFamily="18" charset="0"/>
                              <a:ea typeface="Cambria" panose="02040503050406030204" pitchFamily="18" charset="0"/>
                            </a:rPr>
                            <m:t>⋅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𝑟</m:t>
                              </m:r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+</m:t>
                              </m:r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𝛾</m:t>
                              </m:r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⋅</m:t>
                              </m:r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𝑣</m:t>
                              </m:r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s-CO" sz="1600" b="0" i="1" smtClean="0">
                                      <a:ln w="0"/>
                                      <a:solidFill>
                                        <a:prstClr val="black"/>
                                      </a:solidFill>
                                      <a:effectLst>
                                        <a:outerShdw blurRad="38100" dist="19050" dir="2700000" algn="tl" rotWithShape="0">
                                          <a:prstClr val="black">
                                            <a:alpha val="40000"/>
                                          </a:prstClr>
                                        </a:outerShdw>
                                      </a:effectLst>
                                      <a:latin typeface="Cambria Math" panose="02040503050406030204" pitchFamily="18" charset="0"/>
                                      <a:ea typeface="Cambria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s-CO" sz="1600" b="0" i="1" smtClean="0">
                                      <a:ln w="0"/>
                                      <a:solidFill>
                                        <a:prstClr val="black"/>
                                      </a:solidFill>
                                      <a:effectLst>
                                        <a:outerShdw blurRad="38100" dist="19050" dir="2700000" algn="tl" rotWithShape="0">
                                          <a:prstClr val="black">
                                            <a:alpha val="40000"/>
                                          </a:prstClr>
                                        </a:outerShdw>
                                      </a:effectLst>
                                      <a:latin typeface="Cambria Math" panose="02040503050406030204" pitchFamily="18" charset="0"/>
                                      <a:ea typeface="Cambria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s-CO" sz="1600" b="0" i="1" smtClean="0">
                                      <a:ln w="0"/>
                                      <a:solidFill>
                                        <a:prstClr val="black"/>
                                      </a:solidFill>
                                      <a:effectLst>
                                        <a:outerShdw blurRad="38100" dist="19050" dir="2700000" algn="tl" rotWithShape="0">
                                          <a:prstClr val="black">
                                            <a:alpha val="40000"/>
                                          </a:prstClr>
                                        </a:outerShdw>
                                      </a:effectLst>
                                      <a:latin typeface="Cambria Math" panose="02040503050406030204" pitchFamily="18" charset="0"/>
                                      <a:ea typeface="Cambria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s-CO" sz="1600" b="0" i="1" smtClean="0">
                                  <a:ln w="0"/>
                                  <a:solidFill>
                                    <a:prstClr val="black"/>
                                  </a:solidFill>
                                  <a:effectLst>
                                    <a:outerShdw blurRad="38100" dist="19050" dir="2700000" algn="tl" rotWithShape="0">
                                      <a:prstClr val="black">
                                        <a:alpha val="40000"/>
                                      </a:prstClr>
                                    </a:outerShdw>
                                  </a:effectLst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</a:rPr>
                                <m:t>)</m:t>
                              </m:r>
                            </m:e>
                          </m:d>
                        </m:e>
                      </m:nary>
                      <m:r>
                        <a:rPr lang="es-CO" sz="1600" b="0" i="1" smtClean="0">
                          <a:ln w="0"/>
                          <a:solidFill>
                            <a:prstClr val="black"/>
                          </a:solidFill>
                          <a:effectLst>
                            <a:outerShdw blurRad="38100" dist="1905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 ∀ </m:t>
                      </m:r>
                      <m:r>
                        <a:rPr lang="es-CO" sz="1600" b="0" i="1" smtClean="0">
                          <a:ln w="0"/>
                          <a:solidFill>
                            <a:prstClr val="black"/>
                          </a:solidFill>
                          <a:effectLst>
                            <a:outerShdw blurRad="38100" dist="1905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𝑠</m:t>
                      </m:r>
                      <m:r>
                        <a:rPr lang="es-CO" sz="1600" b="0" i="1" smtClean="0">
                          <a:ln w="0"/>
                          <a:solidFill>
                            <a:prstClr val="black"/>
                          </a:solidFill>
                          <a:effectLst>
                            <a:outerShdw blurRad="38100" dist="1905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∈</m:t>
                      </m:r>
                      <m:r>
                        <a:rPr lang="es-CO" sz="1600" b="0" i="1" smtClean="0">
                          <a:ln w="0"/>
                          <a:solidFill>
                            <a:prstClr val="black"/>
                          </a:solidFill>
                          <a:effectLst>
                            <a:outerShdw blurRad="38100" dist="1905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𝑆</m:t>
                      </m:r>
                    </m:oMath>
                  </m:oMathPara>
                </a14:m>
                <a:endParaRPr kumimoji="0" lang="es-CO" sz="1600" b="0" i="0" u="none" strike="noStrike" kern="1200" cap="none" spc="0" normalizeH="0" baseline="0" noProof="0" dirty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31003CC5-5204-467D-B419-C50B4DD2E5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4877" y="2731004"/>
                <a:ext cx="6456646" cy="71686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Flecha: hacia abajo 4">
            <a:extLst>
              <a:ext uri="{FF2B5EF4-FFF2-40B4-BE49-F238E27FC236}">
                <a16:creationId xmlns:a16="http://schemas.microsoft.com/office/drawing/2014/main" id="{42A1FD1C-28CE-4247-830D-775D2529513A}"/>
              </a:ext>
            </a:extLst>
          </p:cNvPr>
          <p:cNvSpPr/>
          <p:nvPr/>
        </p:nvSpPr>
        <p:spPr>
          <a:xfrm rot="16200000" flipH="1">
            <a:off x="2800964" y="2235638"/>
            <a:ext cx="124366" cy="1545498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ángulo 5">
                <a:extLst>
                  <a:ext uri="{FF2B5EF4-FFF2-40B4-BE49-F238E27FC236}">
                    <a16:creationId xmlns:a16="http://schemas.microsoft.com/office/drawing/2014/main" id="{DD62733A-D8EF-4D71-85CE-82513DF6164C}"/>
                  </a:ext>
                </a:extLst>
              </p:cNvPr>
              <p:cNvSpPr/>
              <p:nvPr/>
            </p:nvSpPr>
            <p:spPr>
              <a:xfrm>
                <a:off x="6348125" y="1364575"/>
                <a:ext cx="2976403" cy="120032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CO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To</m:t>
                      </m:r>
                      <m:r>
                        <a:rPr lang="es-CO" b="0" i="0" cap="none" spc="0" smtClean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Cambria Math" panose="02040503050406030204" pitchFamily="18" charset="0"/>
                          <a:ea typeface="Cambria" panose="02040503050406030204" pitchFamily="18" charset="0"/>
                        </a:rPr>
                        <m:t>:</m:t>
                      </m:r>
                    </m:oMath>
                  </m:oMathPara>
                </a14:m>
                <a:endParaRPr lang="es-CO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algn="ctr"/>
                <a:r>
                  <a:rPr lang="es-ES" cap="none" spc="0" dirty="0" err="1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Cambria" panose="02040503050406030204" pitchFamily="18" charset="0"/>
                    <a:ea typeface="Cambria" panose="02040503050406030204" pitchFamily="18" charset="0"/>
                  </a:rPr>
                  <a:t>Approximate</a:t>
                </a:r>
                <a:endParaRPr lang="es-E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algn="ctr"/>
                <a:r>
                  <a:rPr lang="es-ES" cap="none" spc="0" dirty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Cambria" panose="02040503050406030204" pitchFamily="18" charset="0"/>
                    <a:ea typeface="Cambria" panose="02040503050406030204" pitchFamily="18" charset="0"/>
                  </a:rPr>
                  <a:t>Dynamic</a:t>
                </a:r>
              </a:p>
              <a:p>
                <a:pPr algn="ctr"/>
                <a:r>
                  <a:rPr lang="es-ES" dirty="0" err="1">
                    <a:ln w="0"/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Cambria" panose="02040503050406030204" pitchFamily="18" charset="0"/>
                    <a:ea typeface="Cambria" panose="02040503050406030204" pitchFamily="18" charset="0"/>
                  </a:rPr>
                  <a:t>Programming</a:t>
                </a:r>
                <a:endParaRPr lang="es-ES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Rectángulo 5">
                <a:extLst>
                  <a:ext uri="{FF2B5EF4-FFF2-40B4-BE49-F238E27FC236}">
                    <a16:creationId xmlns:a16="http://schemas.microsoft.com/office/drawing/2014/main" id="{DD62733A-D8EF-4D71-85CE-82513DF6164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48125" y="1364575"/>
                <a:ext cx="2976403" cy="1200329"/>
              </a:xfrm>
              <a:prstGeom prst="rect">
                <a:avLst/>
              </a:prstGeom>
              <a:blipFill>
                <a:blip r:embed="rId7"/>
                <a:stretch>
                  <a:fillRect b="-8122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ítulo 1">
            <a:extLst>
              <a:ext uri="{FF2B5EF4-FFF2-40B4-BE49-F238E27FC236}">
                <a16:creationId xmlns:a16="http://schemas.microsoft.com/office/drawing/2014/main" id="{9678680B-73D7-4F63-BAEA-A344E7FB7B4D}"/>
              </a:ext>
            </a:extLst>
          </p:cNvPr>
          <p:cNvSpPr txBox="1">
            <a:spLocks/>
          </p:cNvSpPr>
          <p:nvPr/>
        </p:nvSpPr>
        <p:spPr>
          <a:xfrm>
            <a:off x="251520" y="548970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Our transition</a:t>
            </a:r>
          </a:p>
        </p:txBody>
      </p:sp>
    </p:spTree>
    <p:extLst>
      <p:ext uri="{BB962C8B-B14F-4D97-AF65-F5344CB8AC3E}">
        <p14:creationId xmlns:p14="http://schemas.microsoft.com/office/powerpoint/2010/main" val="4930215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5</a:t>
            </a:fld>
            <a:endParaRPr lang="es-ES" dirty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D2AE9F25-1009-425C-9497-689BB754599E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An MIP of infrastructure maintenance projects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531263" y="1340768"/>
            <a:ext cx="8155537" cy="4699035"/>
            <a:chOff x="325583" y="62345"/>
            <a:chExt cx="11637817" cy="6710928"/>
          </a:xfrm>
        </p:grpSpPr>
        <p:sp>
          <p:nvSpPr>
            <p:cNvPr id="7" name="Rectángulo redondeado 6"/>
            <p:cNvSpPr/>
            <p:nvPr/>
          </p:nvSpPr>
          <p:spPr>
            <a:xfrm>
              <a:off x="325583" y="62345"/>
              <a:ext cx="3866443" cy="669014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ximize</a:t>
              </a:r>
              <a:endParaRPr lang="en-US"/>
            </a:p>
          </p:txBody>
        </p:sp>
        <p:sp>
          <p:nvSpPr>
            <p:cNvPr id="8" name="Rectángulo redondeado 7"/>
            <p:cNvSpPr/>
            <p:nvPr/>
          </p:nvSpPr>
          <p:spPr>
            <a:xfrm>
              <a:off x="568036" y="1172668"/>
              <a:ext cx="3339261" cy="1191491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. Constraints describing performance over time based on deterioration models</a:t>
              </a:r>
            </a:p>
          </p:txBody>
        </p:sp>
        <p:sp>
          <p:nvSpPr>
            <p:cNvPr id="10" name="Rectángulo redondeado 9"/>
            <p:cNvSpPr/>
            <p:nvPr/>
          </p:nvSpPr>
          <p:spPr>
            <a:xfrm>
              <a:off x="568037" y="2551847"/>
              <a:ext cx="3339261" cy="1191491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. Constraints describing service level as a function of performance</a:t>
              </a:r>
            </a:p>
          </p:txBody>
        </p:sp>
        <p:sp>
          <p:nvSpPr>
            <p:cNvPr id="11" name="Rectángulo redondeado 10"/>
            <p:cNvSpPr/>
            <p:nvPr/>
          </p:nvSpPr>
          <p:spPr>
            <a:xfrm>
              <a:off x="568036" y="3934718"/>
              <a:ext cx="3339261" cy="1191491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3. Constraints describing cash-flows as a function of service levels and performance</a:t>
              </a:r>
            </a:p>
          </p:txBody>
        </p:sp>
        <p:sp>
          <p:nvSpPr>
            <p:cNvPr id="12" name="Rectángulo redondeado 11"/>
            <p:cNvSpPr/>
            <p:nvPr/>
          </p:nvSpPr>
          <p:spPr>
            <a:xfrm>
              <a:off x="549291" y="5317589"/>
              <a:ext cx="3339261" cy="1191491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. Constraints describing possible regulatory, contractual, and organizational conditions</a:t>
              </a:r>
            </a:p>
          </p:txBody>
        </p:sp>
        <p:sp>
          <p:nvSpPr>
            <p:cNvPr id="13" name="Rectángulo redondeado 12"/>
            <p:cNvSpPr/>
            <p:nvPr/>
          </p:nvSpPr>
          <p:spPr>
            <a:xfrm>
              <a:off x="1176495" y="300151"/>
              <a:ext cx="2122340" cy="48914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ximize </a:t>
              </a:r>
              <a:r>
                <a:rPr lang="en-US" sz="1400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utility</a:t>
              </a:r>
            </a:p>
          </p:txBody>
        </p:sp>
        <p:sp>
          <p:nvSpPr>
            <p:cNvPr id="14" name="Rectángulo 13"/>
            <p:cNvSpPr/>
            <p:nvPr/>
          </p:nvSpPr>
          <p:spPr>
            <a:xfrm>
              <a:off x="1621455" y="827094"/>
              <a:ext cx="976549" cy="3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ubject to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:</a:t>
              </a:r>
              <a:endParaRPr lang="en-US" sz="1400" b="1" dirty="0"/>
            </a:p>
          </p:txBody>
        </p:sp>
        <p:sp>
          <p:nvSpPr>
            <p:cNvPr id="15" name="Rectángulo 14"/>
            <p:cNvSpPr/>
            <p:nvPr/>
          </p:nvSpPr>
          <p:spPr>
            <a:xfrm>
              <a:off x="5075904" y="293313"/>
              <a:ext cx="6535729" cy="48350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Utility for the principal   &amp;   Utility for the agent     </a:t>
              </a:r>
              <a:endParaRPr lang="en-US" sz="16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6" name="Conector recto de flecha 15"/>
            <p:cNvCxnSpPr>
              <a:stCxn id="13" idx="3"/>
              <a:endCxn id="15" idx="1"/>
            </p:cNvCxnSpPr>
            <p:nvPr/>
          </p:nvCxnSpPr>
          <p:spPr>
            <a:xfrm flipV="1">
              <a:off x="3298834" y="535066"/>
              <a:ext cx="1777070" cy="965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upo 16"/>
            <p:cNvGrpSpPr/>
            <p:nvPr/>
          </p:nvGrpSpPr>
          <p:grpSpPr>
            <a:xfrm>
              <a:off x="4433263" y="969817"/>
              <a:ext cx="7530137" cy="5803456"/>
              <a:chOff x="4433263" y="969817"/>
              <a:chExt cx="7530137" cy="5803456"/>
            </a:xfrm>
          </p:grpSpPr>
          <p:grpSp>
            <p:nvGrpSpPr>
              <p:cNvPr id="18" name="Grupo 17"/>
              <p:cNvGrpSpPr/>
              <p:nvPr/>
            </p:nvGrpSpPr>
            <p:grpSpPr>
              <a:xfrm>
                <a:off x="4433263" y="969817"/>
                <a:ext cx="7530137" cy="5803456"/>
                <a:chOff x="4433263" y="969817"/>
                <a:chExt cx="7530137" cy="5803456"/>
              </a:xfrm>
            </p:grpSpPr>
            <p:sp>
              <p:nvSpPr>
                <p:cNvPr id="20" name="Rectángulo redondeado 19"/>
                <p:cNvSpPr/>
                <p:nvPr/>
              </p:nvSpPr>
              <p:spPr>
                <a:xfrm>
                  <a:off x="4433263" y="969817"/>
                  <a:ext cx="7530137" cy="5803456"/>
                </a:xfrm>
                <a:prstGeom prst="round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1" name="Conector recto 20"/>
                <p:cNvCxnSpPr/>
                <p:nvPr/>
              </p:nvCxnSpPr>
              <p:spPr>
                <a:xfrm>
                  <a:off x="5202257" y="2301479"/>
                  <a:ext cx="6489975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Conector recto 21"/>
                <p:cNvCxnSpPr/>
                <p:nvPr/>
              </p:nvCxnSpPr>
              <p:spPr>
                <a:xfrm>
                  <a:off x="5208745" y="1861863"/>
                  <a:ext cx="6489975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Conector recto 22"/>
                <p:cNvCxnSpPr/>
                <p:nvPr/>
              </p:nvCxnSpPr>
              <p:spPr>
                <a:xfrm flipV="1">
                  <a:off x="7364664" y="1145360"/>
                  <a:ext cx="0" cy="3899704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Conector recto 23"/>
                <p:cNvCxnSpPr/>
                <p:nvPr/>
              </p:nvCxnSpPr>
              <p:spPr>
                <a:xfrm flipV="1">
                  <a:off x="8645770" y="1150685"/>
                  <a:ext cx="0" cy="387610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Conector recto de flecha 24"/>
                <p:cNvCxnSpPr/>
                <p:nvPr/>
              </p:nvCxnSpPr>
              <p:spPr>
                <a:xfrm>
                  <a:off x="5195179" y="4041056"/>
                  <a:ext cx="6497053" cy="0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Conector recto de flecha 25"/>
                <p:cNvCxnSpPr/>
                <p:nvPr/>
              </p:nvCxnSpPr>
              <p:spPr>
                <a:xfrm>
                  <a:off x="5195179" y="2582825"/>
                  <a:ext cx="6497053" cy="0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Conector recto de flecha 26"/>
                <p:cNvCxnSpPr/>
                <p:nvPr/>
              </p:nvCxnSpPr>
              <p:spPr>
                <a:xfrm flipH="1" flipV="1">
                  <a:off x="5199190" y="2619325"/>
                  <a:ext cx="4011" cy="1421731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Conector recto de flecha 27"/>
                <p:cNvCxnSpPr/>
                <p:nvPr/>
              </p:nvCxnSpPr>
              <p:spPr>
                <a:xfrm flipH="1" flipV="1">
                  <a:off x="5204734" y="1170647"/>
                  <a:ext cx="4011" cy="1421731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Forma libre 28"/>
                <p:cNvSpPr/>
                <p:nvPr/>
              </p:nvSpPr>
              <p:spPr>
                <a:xfrm>
                  <a:off x="5205052" y="1347743"/>
                  <a:ext cx="6477000" cy="1065134"/>
                </a:xfrm>
                <a:custGeom>
                  <a:avLst/>
                  <a:gdLst>
                    <a:gd name="connsiteX0" fmla="*/ 0 w 6477000"/>
                    <a:gd name="connsiteY0" fmla="*/ 38152 h 899838"/>
                    <a:gd name="connsiteX1" fmla="*/ 2878015 w 6477000"/>
                    <a:gd name="connsiteY1" fmla="*/ 899798 h 899838"/>
                    <a:gd name="connsiteX2" fmla="*/ 3698630 w 6477000"/>
                    <a:gd name="connsiteY2" fmla="*/ 8844 h 899838"/>
                    <a:gd name="connsiteX3" fmla="*/ 6477000 w 6477000"/>
                    <a:gd name="connsiteY3" fmla="*/ 419152 h 899838"/>
                    <a:gd name="connsiteX4" fmla="*/ 6477000 w 6477000"/>
                    <a:gd name="connsiteY4" fmla="*/ 419152 h 899838"/>
                    <a:gd name="connsiteX0" fmla="*/ 0 w 6477000"/>
                    <a:gd name="connsiteY0" fmla="*/ 43537 h 1057613"/>
                    <a:gd name="connsiteX1" fmla="*/ 2889738 w 6477000"/>
                    <a:gd name="connsiteY1" fmla="*/ 1057583 h 1057613"/>
                    <a:gd name="connsiteX2" fmla="*/ 3698630 w 6477000"/>
                    <a:gd name="connsiteY2" fmla="*/ 14229 h 1057613"/>
                    <a:gd name="connsiteX3" fmla="*/ 6477000 w 6477000"/>
                    <a:gd name="connsiteY3" fmla="*/ 424537 h 1057613"/>
                    <a:gd name="connsiteX4" fmla="*/ 6477000 w 6477000"/>
                    <a:gd name="connsiteY4" fmla="*/ 424537 h 1057613"/>
                    <a:gd name="connsiteX0" fmla="*/ 0 w 6477000"/>
                    <a:gd name="connsiteY0" fmla="*/ 51045 h 1065134"/>
                    <a:gd name="connsiteX1" fmla="*/ 2889738 w 6477000"/>
                    <a:gd name="connsiteY1" fmla="*/ 1065091 h 1065134"/>
                    <a:gd name="connsiteX2" fmla="*/ 3851030 w 6477000"/>
                    <a:gd name="connsiteY2" fmla="*/ 15876 h 1065134"/>
                    <a:gd name="connsiteX3" fmla="*/ 6477000 w 6477000"/>
                    <a:gd name="connsiteY3" fmla="*/ 432045 h 1065134"/>
                    <a:gd name="connsiteX4" fmla="*/ 6477000 w 6477000"/>
                    <a:gd name="connsiteY4" fmla="*/ 432045 h 1065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77000" h="1065134">
                      <a:moveTo>
                        <a:pt x="0" y="51045"/>
                      </a:moveTo>
                      <a:cubicBezTo>
                        <a:pt x="1130788" y="484310"/>
                        <a:pt x="2247900" y="1070953"/>
                        <a:pt x="2889738" y="1065091"/>
                      </a:cubicBezTo>
                      <a:cubicBezTo>
                        <a:pt x="3531576" y="1059230"/>
                        <a:pt x="3253153" y="121384"/>
                        <a:pt x="3851030" y="15876"/>
                      </a:cubicBezTo>
                      <a:cubicBezTo>
                        <a:pt x="4448907" y="-89632"/>
                        <a:pt x="6039338" y="362684"/>
                        <a:pt x="6477000" y="432045"/>
                      </a:cubicBezTo>
                      <a:lnTo>
                        <a:pt x="6477000" y="432045"/>
                      </a:lnTo>
                    </a:path>
                  </a:pathLst>
                </a:custGeom>
                <a:noFill/>
                <a:ln w="28575">
                  <a:solidFill>
                    <a:srgbClr val="FF0000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0" name="Conector recto 29"/>
                <p:cNvCxnSpPr/>
                <p:nvPr/>
              </p:nvCxnSpPr>
              <p:spPr>
                <a:xfrm>
                  <a:off x="5202257" y="2891885"/>
                  <a:ext cx="1098895" cy="0"/>
                </a:xfrm>
                <a:prstGeom prst="line">
                  <a:avLst/>
                </a:prstGeom>
                <a:ln w="19050">
                  <a:solidFill>
                    <a:srgbClr val="0070C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Conector recto 30"/>
                <p:cNvCxnSpPr/>
                <p:nvPr/>
              </p:nvCxnSpPr>
              <p:spPr>
                <a:xfrm>
                  <a:off x="6301152" y="3318466"/>
                  <a:ext cx="1055084" cy="0"/>
                </a:xfrm>
                <a:prstGeom prst="line">
                  <a:avLst/>
                </a:prstGeom>
                <a:ln w="19050">
                  <a:solidFill>
                    <a:srgbClr val="0070C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Conector recto 31"/>
                <p:cNvCxnSpPr/>
                <p:nvPr/>
              </p:nvCxnSpPr>
              <p:spPr>
                <a:xfrm>
                  <a:off x="7373822" y="3781536"/>
                  <a:ext cx="1266086" cy="0"/>
                </a:xfrm>
                <a:prstGeom prst="line">
                  <a:avLst/>
                </a:prstGeom>
                <a:ln w="19050">
                  <a:solidFill>
                    <a:srgbClr val="0070C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Conector recto 32"/>
                <p:cNvCxnSpPr/>
                <p:nvPr/>
              </p:nvCxnSpPr>
              <p:spPr>
                <a:xfrm>
                  <a:off x="8639908" y="2886023"/>
                  <a:ext cx="3052324" cy="0"/>
                </a:xfrm>
                <a:prstGeom prst="line">
                  <a:avLst/>
                </a:prstGeom>
                <a:ln w="19050">
                  <a:solidFill>
                    <a:srgbClr val="0070C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Conector recto 33"/>
                <p:cNvCxnSpPr/>
                <p:nvPr/>
              </p:nvCxnSpPr>
              <p:spPr>
                <a:xfrm flipV="1">
                  <a:off x="6301152" y="2886023"/>
                  <a:ext cx="0" cy="432443"/>
                </a:xfrm>
                <a:prstGeom prst="line">
                  <a:avLst/>
                </a:prstGeom>
                <a:ln w="19050">
                  <a:solidFill>
                    <a:srgbClr val="0070C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Conector recto 34"/>
                <p:cNvCxnSpPr/>
                <p:nvPr/>
              </p:nvCxnSpPr>
              <p:spPr>
                <a:xfrm flipV="1">
                  <a:off x="7356236" y="3330190"/>
                  <a:ext cx="0" cy="432443"/>
                </a:xfrm>
                <a:prstGeom prst="line">
                  <a:avLst/>
                </a:prstGeom>
                <a:ln w="19050">
                  <a:solidFill>
                    <a:srgbClr val="0070C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Conector recto 35"/>
                <p:cNvCxnSpPr/>
                <p:nvPr/>
              </p:nvCxnSpPr>
              <p:spPr>
                <a:xfrm flipV="1">
                  <a:off x="8639908" y="2886023"/>
                  <a:ext cx="0" cy="894197"/>
                </a:xfrm>
                <a:prstGeom prst="line">
                  <a:avLst/>
                </a:prstGeom>
                <a:ln w="19050">
                  <a:solidFill>
                    <a:srgbClr val="0070C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Conector recto de flecha 36"/>
                <p:cNvCxnSpPr/>
                <p:nvPr/>
              </p:nvCxnSpPr>
              <p:spPr>
                <a:xfrm>
                  <a:off x="5205052" y="4049219"/>
                  <a:ext cx="0" cy="1594333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Conector recto de flecha 37"/>
                <p:cNvCxnSpPr/>
                <p:nvPr/>
              </p:nvCxnSpPr>
              <p:spPr>
                <a:xfrm>
                  <a:off x="8449414" y="5026785"/>
                  <a:ext cx="0" cy="616767"/>
                </a:xfrm>
                <a:prstGeom prst="straightConnector1">
                  <a:avLst/>
                </a:prstGeom>
                <a:ln w="28575"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Conector recto de flecha 38"/>
                <p:cNvCxnSpPr/>
                <p:nvPr/>
              </p:nvCxnSpPr>
              <p:spPr>
                <a:xfrm flipH="1" flipV="1">
                  <a:off x="5911501" y="4609303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Conector recto de flecha 39"/>
                <p:cNvCxnSpPr/>
                <p:nvPr/>
              </p:nvCxnSpPr>
              <p:spPr>
                <a:xfrm flipH="1" flipV="1">
                  <a:off x="6646990" y="4609303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Conector recto de flecha 40"/>
                <p:cNvCxnSpPr/>
                <p:nvPr/>
              </p:nvCxnSpPr>
              <p:spPr>
                <a:xfrm flipH="1" flipV="1">
                  <a:off x="7348909" y="4609303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Conector recto de flecha 41"/>
                <p:cNvCxnSpPr/>
                <p:nvPr/>
              </p:nvCxnSpPr>
              <p:spPr>
                <a:xfrm flipH="1" flipV="1">
                  <a:off x="8077273" y="4609303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Conector recto de flecha 42"/>
                <p:cNvCxnSpPr/>
                <p:nvPr/>
              </p:nvCxnSpPr>
              <p:spPr>
                <a:xfrm flipH="1" flipV="1">
                  <a:off x="8820922" y="4609303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Conector recto de flecha 43"/>
                <p:cNvCxnSpPr/>
                <p:nvPr/>
              </p:nvCxnSpPr>
              <p:spPr>
                <a:xfrm flipH="1" flipV="1">
                  <a:off x="9556411" y="4609303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Conector recto de flecha 44"/>
                <p:cNvCxnSpPr/>
                <p:nvPr/>
              </p:nvCxnSpPr>
              <p:spPr>
                <a:xfrm flipH="1" flipV="1">
                  <a:off x="10258330" y="4609303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Conector recto de flecha 45"/>
                <p:cNvCxnSpPr/>
                <p:nvPr/>
              </p:nvCxnSpPr>
              <p:spPr>
                <a:xfrm flipH="1" flipV="1">
                  <a:off x="10986694" y="4609303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Conector recto de flecha 46"/>
                <p:cNvCxnSpPr/>
                <p:nvPr/>
              </p:nvCxnSpPr>
              <p:spPr>
                <a:xfrm flipH="1" flipV="1">
                  <a:off x="5904174" y="4178711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FFC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Conector recto de flecha 47"/>
                <p:cNvCxnSpPr/>
                <p:nvPr/>
              </p:nvCxnSpPr>
              <p:spPr>
                <a:xfrm flipH="1" flipV="1">
                  <a:off x="6645159" y="4403665"/>
                  <a:ext cx="1832" cy="199084"/>
                </a:xfrm>
                <a:prstGeom prst="straightConnector1">
                  <a:avLst/>
                </a:prstGeom>
                <a:ln w="28575">
                  <a:solidFill>
                    <a:srgbClr val="FFC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Conector recto de flecha 48"/>
                <p:cNvCxnSpPr/>
                <p:nvPr/>
              </p:nvCxnSpPr>
              <p:spPr>
                <a:xfrm flipH="1" flipV="1">
                  <a:off x="9549084" y="4178711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FFC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Conector recto de flecha 49"/>
                <p:cNvCxnSpPr/>
                <p:nvPr/>
              </p:nvCxnSpPr>
              <p:spPr>
                <a:xfrm flipH="1" flipV="1">
                  <a:off x="10251003" y="4178711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FFC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Conector recto de flecha 50"/>
                <p:cNvCxnSpPr/>
                <p:nvPr/>
              </p:nvCxnSpPr>
              <p:spPr>
                <a:xfrm flipH="1" flipV="1">
                  <a:off x="10979367" y="4178711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FFC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Conector recto de flecha 51"/>
                <p:cNvCxnSpPr/>
                <p:nvPr/>
              </p:nvCxnSpPr>
              <p:spPr>
                <a:xfrm>
                  <a:off x="8084600" y="5033340"/>
                  <a:ext cx="0" cy="402453"/>
                </a:xfrm>
                <a:prstGeom prst="straightConnector1">
                  <a:avLst/>
                </a:prstGeom>
                <a:ln w="28575">
                  <a:solidFill>
                    <a:srgbClr val="FFC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CuadroTexto 52"/>
                <p:cNvSpPr txBox="1"/>
                <p:nvPr/>
              </p:nvSpPr>
              <p:spPr>
                <a:xfrm rot="16200000">
                  <a:off x="4172726" y="1687938"/>
                  <a:ext cx="1481777" cy="39527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erformance</a:t>
                  </a:r>
                </a:p>
              </p:txBody>
            </p:sp>
            <p:sp>
              <p:nvSpPr>
                <p:cNvPr id="54" name="CuadroTexto 53"/>
                <p:cNvSpPr txBox="1"/>
                <p:nvPr/>
              </p:nvSpPr>
              <p:spPr>
                <a:xfrm rot="16200000">
                  <a:off x="4116448" y="4626788"/>
                  <a:ext cx="1594331" cy="43919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ash-flow</a:t>
                  </a:r>
                </a:p>
              </p:txBody>
            </p:sp>
            <p:sp>
              <p:nvSpPr>
                <p:cNvPr id="55" name="CuadroTexto 54"/>
                <p:cNvSpPr txBox="1"/>
                <p:nvPr/>
              </p:nvSpPr>
              <p:spPr>
                <a:xfrm rot="16200000">
                  <a:off x="4190953" y="3144349"/>
                  <a:ext cx="1445322" cy="39527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ervice level</a:t>
                  </a:r>
                </a:p>
              </p:txBody>
            </p:sp>
            <p:cxnSp>
              <p:nvCxnSpPr>
                <p:cNvPr id="56" name="Conector recto de flecha 55"/>
                <p:cNvCxnSpPr/>
                <p:nvPr/>
              </p:nvCxnSpPr>
              <p:spPr>
                <a:xfrm flipH="1" flipV="1">
                  <a:off x="8816514" y="4178711"/>
                  <a:ext cx="7327" cy="424037"/>
                </a:xfrm>
                <a:prstGeom prst="straightConnector1">
                  <a:avLst/>
                </a:prstGeom>
                <a:ln w="28575">
                  <a:solidFill>
                    <a:srgbClr val="FFC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7" name="Elipse 56"/>
                <p:cNvSpPr/>
                <p:nvPr/>
              </p:nvSpPr>
              <p:spPr>
                <a:xfrm>
                  <a:off x="6232401" y="1802844"/>
                  <a:ext cx="129398" cy="99499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Elipse 57"/>
                <p:cNvSpPr/>
                <p:nvPr/>
              </p:nvSpPr>
              <p:spPr>
                <a:xfrm>
                  <a:off x="7299965" y="2222923"/>
                  <a:ext cx="129398" cy="99499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Elipse 58"/>
                <p:cNvSpPr/>
                <p:nvPr/>
              </p:nvSpPr>
              <p:spPr>
                <a:xfrm>
                  <a:off x="8573863" y="1802844"/>
                  <a:ext cx="129398" cy="99499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60" name="Conector recto de flecha 59"/>
                <p:cNvCxnSpPr/>
                <p:nvPr/>
              </p:nvCxnSpPr>
              <p:spPr>
                <a:xfrm flipH="1" flipV="1">
                  <a:off x="7348904" y="4408925"/>
                  <a:ext cx="1832" cy="199084"/>
                </a:xfrm>
                <a:prstGeom prst="straightConnector1">
                  <a:avLst/>
                </a:prstGeom>
                <a:ln w="28575">
                  <a:solidFill>
                    <a:srgbClr val="FFC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Conector recto de flecha 60"/>
                <p:cNvCxnSpPr/>
                <p:nvPr/>
              </p:nvCxnSpPr>
              <p:spPr>
                <a:xfrm>
                  <a:off x="5201041" y="5033340"/>
                  <a:ext cx="6497053" cy="0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2" name="Imagen 61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86803" y="5928669"/>
                  <a:ext cx="685495" cy="685495"/>
                </a:xfrm>
                <a:prstGeom prst="rect">
                  <a:avLst/>
                </a:prstGeom>
              </p:spPr>
            </p:pic>
            <p:pic>
              <p:nvPicPr>
                <p:cNvPr id="63" name="Imagen 62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99136" y="5883711"/>
                  <a:ext cx="699536" cy="699536"/>
                </a:xfrm>
                <a:prstGeom prst="rect">
                  <a:avLst/>
                </a:prstGeom>
              </p:spPr>
            </p:pic>
            <p:pic>
              <p:nvPicPr>
                <p:cNvPr id="64" name="Imagen 63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60429" y="5962817"/>
                  <a:ext cx="673772" cy="673772"/>
                </a:xfrm>
                <a:prstGeom prst="rect">
                  <a:avLst/>
                </a:prstGeom>
              </p:spPr>
            </p:pic>
          </p:grpSp>
          <p:sp>
            <p:nvSpPr>
              <p:cNvPr id="19" name="Rectángulo 18"/>
              <p:cNvSpPr/>
              <p:nvPr/>
            </p:nvSpPr>
            <p:spPr>
              <a:xfrm>
                <a:off x="11156596" y="5128746"/>
                <a:ext cx="59503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ime</a:t>
                </a:r>
                <a:endParaRPr lang="en-US" dirty="0"/>
              </a:p>
            </p:txBody>
          </p:sp>
        </p:grpSp>
      </p:grpSp>
      <p:sp>
        <p:nvSpPr>
          <p:cNvPr id="65" name="Rectángulo 64">
            <a:extLst>
              <a:ext uri="{FF2B5EF4-FFF2-40B4-BE49-F238E27FC236}">
                <a16:creationId xmlns:a16="http://schemas.microsoft.com/office/drawing/2014/main" id="{EE7AF8B6-44D4-4028-A32F-3BA1BF4ABC97}"/>
              </a:ext>
            </a:extLst>
          </p:cNvPr>
          <p:cNvSpPr/>
          <p:nvPr/>
        </p:nvSpPr>
        <p:spPr>
          <a:xfrm>
            <a:off x="6588224" y="6335742"/>
            <a:ext cx="130997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ómez et al. (2020)</a:t>
            </a:r>
            <a:endParaRPr lang="es-CO" sz="1100" dirty="0"/>
          </a:p>
        </p:txBody>
      </p:sp>
    </p:spTree>
    <p:extLst>
      <p:ext uri="{BB962C8B-B14F-4D97-AF65-F5344CB8AC3E}">
        <p14:creationId xmlns:p14="http://schemas.microsoft.com/office/powerpoint/2010/main" val="245642236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50</a:t>
            </a:fld>
            <a:endParaRPr lang="es-ES" dirty="0"/>
          </a:p>
        </p:txBody>
      </p:sp>
      <p:sp>
        <p:nvSpPr>
          <p:cNvPr id="5" name="Marcador de contenido 3">
            <a:extLst>
              <a:ext uri="{FF2B5EF4-FFF2-40B4-BE49-F238E27FC236}">
                <a16:creationId xmlns:a16="http://schemas.microsoft.com/office/drawing/2014/main" id="{7893B022-6896-4C5B-B015-BFC8CE3D7A47}"/>
              </a:ext>
            </a:extLst>
          </p:cNvPr>
          <p:cNvSpPr txBox="1">
            <a:spLocks/>
          </p:cNvSpPr>
          <p:nvPr/>
        </p:nvSpPr>
        <p:spPr>
          <a:xfrm>
            <a:off x="571505" y="1540024"/>
            <a:ext cx="8115295" cy="4913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882" indent="-34288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13" indent="-285737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2942" indent="-22858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120" indent="-22858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298" indent="-228589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Cost approximation and limited lookahead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Problem approximation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Parametric cost approximation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n-line Approximation and control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imulation-based cost-to-go approximation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pproximation in policy space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daptive control</a:t>
            </a:r>
          </a:p>
          <a:p>
            <a:pPr marL="342882" marR="0" lvl="0" indent="-34288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en-US" sz="2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CECD5B1-1B44-4157-8FA9-F1B7EB7A99BB}"/>
              </a:ext>
            </a:extLst>
          </p:cNvPr>
          <p:cNvSpPr/>
          <p:nvPr/>
        </p:nvSpPr>
        <p:spPr>
          <a:xfrm>
            <a:off x="6516216" y="6335742"/>
            <a:ext cx="11817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tsekas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(1995)</a:t>
            </a:r>
            <a:endParaRPr lang="es-CO" sz="1100" dirty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EB9290B7-797C-421D-BB0A-54DAB768B924}"/>
              </a:ext>
            </a:extLst>
          </p:cNvPr>
          <p:cNvSpPr txBox="1">
            <a:spLocks/>
          </p:cNvSpPr>
          <p:nvPr/>
        </p:nvSpPr>
        <p:spPr>
          <a:xfrm>
            <a:off x="251520" y="548970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Approximate dynamic programming: optimal control</a:t>
            </a:r>
          </a:p>
        </p:txBody>
      </p:sp>
    </p:spTree>
    <p:extLst>
      <p:ext uri="{BB962C8B-B14F-4D97-AF65-F5344CB8AC3E}">
        <p14:creationId xmlns:p14="http://schemas.microsoft.com/office/powerpoint/2010/main" val="277886280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51</a:t>
            </a:fld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9493A4D-B4CC-4B24-AA89-930333F9F2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3715" y="1556792"/>
            <a:ext cx="4418969" cy="4442474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DA466CCC-4025-4723-8531-6FEE3511ED1C}"/>
              </a:ext>
            </a:extLst>
          </p:cNvPr>
          <p:cNvSpPr/>
          <p:nvPr/>
        </p:nvSpPr>
        <p:spPr>
          <a:xfrm>
            <a:off x="827584" y="2708920"/>
            <a:ext cx="2678938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Ingeniar</a:t>
            </a:r>
          </a:p>
          <a:p>
            <a:pPr algn="ctr"/>
            <a:r>
              <a:rPr lang="es-ES" sz="540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S.A.S.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EA333CF-C10B-4D8D-B33E-D7DB410EE03B}"/>
              </a:ext>
            </a:extLst>
          </p:cNvPr>
          <p:cNvSpPr txBox="1">
            <a:spLocks/>
          </p:cNvSpPr>
          <p:nvPr/>
        </p:nvSpPr>
        <p:spPr>
          <a:xfrm>
            <a:off x="251520" y="548970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Opportunity of applications</a:t>
            </a:r>
          </a:p>
        </p:txBody>
      </p:sp>
    </p:spTree>
    <p:extLst>
      <p:ext uri="{BB962C8B-B14F-4D97-AF65-F5344CB8AC3E}">
        <p14:creationId xmlns:p14="http://schemas.microsoft.com/office/powerpoint/2010/main" val="269231477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52</a:t>
            </a:fld>
            <a:endParaRPr lang="es-ES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795F48F-0F8F-40C2-A58A-BA26DD1197D4}"/>
              </a:ext>
            </a:extLst>
          </p:cNvPr>
          <p:cNvSpPr txBox="1"/>
          <p:nvPr/>
        </p:nvSpPr>
        <p:spPr>
          <a:xfrm>
            <a:off x="442003" y="1479334"/>
            <a:ext cx="8259994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Camilo Gómez, “An Exact Optimization Approach to the Principal-Agent Problem in Infrastructure Projects via PPPs” (2020)</a:t>
            </a:r>
          </a:p>
          <a:p>
            <a:endParaRPr lang="en-US" sz="1400" dirty="0"/>
          </a:p>
          <a:p>
            <a:r>
              <a:rPr lang="en-US" sz="1400" dirty="0"/>
              <a:t>Egon </a:t>
            </a:r>
            <a:r>
              <a:rPr lang="en-US" sz="1400" dirty="0" err="1"/>
              <a:t>Balas</a:t>
            </a:r>
            <a:r>
              <a:rPr lang="en-US" sz="1400" dirty="0"/>
              <a:t>. “Intersection Cuts-A New Type of Cutting Planes for Integer Programming”.</a:t>
            </a:r>
            <a:r>
              <a:rPr lang="en-US" sz="1400" dirty="0" err="1"/>
              <a:t>In:Operations</a:t>
            </a:r>
            <a:r>
              <a:rPr lang="en-US" sz="1400" dirty="0"/>
              <a:t> Research19.1 (1971), pp. 19–39.issn: 0030364X, 15265463.url:http://www.jstor.org/stable/168861</a:t>
            </a:r>
          </a:p>
          <a:p>
            <a:endParaRPr lang="en-US" sz="1400" dirty="0"/>
          </a:p>
          <a:p>
            <a:r>
              <a:rPr lang="es-CO" sz="1400" dirty="0"/>
              <a:t>Michele </a:t>
            </a:r>
            <a:r>
              <a:rPr lang="es-CO" sz="1400" dirty="0" err="1"/>
              <a:t>Conforti</a:t>
            </a:r>
            <a:r>
              <a:rPr lang="es-CO" sz="1400" dirty="0"/>
              <a:t>, G ́</a:t>
            </a:r>
            <a:r>
              <a:rPr lang="es-CO" sz="1400" dirty="0" err="1"/>
              <a:t>erard</a:t>
            </a:r>
            <a:r>
              <a:rPr lang="es-CO" sz="1400" dirty="0"/>
              <a:t> </a:t>
            </a:r>
            <a:r>
              <a:rPr lang="es-CO" sz="1400" dirty="0" err="1"/>
              <a:t>Cornu</a:t>
            </a:r>
            <a:r>
              <a:rPr lang="es-CO" sz="1400" dirty="0"/>
              <a:t> ́</a:t>
            </a:r>
            <a:r>
              <a:rPr lang="es-CO" sz="1400" dirty="0" err="1"/>
              <a:t>ejols</a:t>
            </a:r>
            <a:r>
              <a:rPr lang="es-CO" sz="1400" dirty="0"/>
              <a:t>, and Giacomo </a:t>
            </a:r>
            <a:r>
              <a:rPr lang="es-CO" sz="1400" dirty="0" err="1"/>
              <a:t>Zambelli</a:t>
            </a:r>
            <a:r>
              <a:rPr lang="es-CO" sz="1400" dirty="0"/>
              <a:t>. “</a:t>
            </a:r>
            <a:r>
              <a:rPr lang="es-CO" sz="1400" dirty="0" err="1"/>
              <a:t>Equivalence</a:t>
            </a:r>
            <a:r>
              <a:rPr lang="es-CO" sz="1400" dirty="0"/>
              <a:t> </a:t>
            </a:r>
            <a:r>
              <a:rPr lang="es-CO" sz="1400" dirty="0" err="1"/>
              <a:t>between</a:t>
            </a:r>
            <a:r>
              <a:rPr lang="es-CO" sz="1400" dirty="0"/>
              <a:t> </a:t>
            </a:r>
            <a:r>
              <a:rPr lang="es-CO" sz="1400" dirty="0" err="1"/>
              <a:t>in-tersection</a:t>
            </a:r>
            <a:r>
              <a:rPr lang="es-CO" sz="1400" dirty="0"/>
              <a:t> </a:t>
            </a:r>
            <a:r>
              <a:rPr lang="es-CO" sz="1400" dirty="0" err="1"/>
              <a:t>cuts</a:t>
            </a:r>
            <a:r>
              <a:rPr lang="es-CO" sz="1400" dirty="0"/>
              <a:t> and </a:t>
            </a:r>
            <a:r>
              <a:rPr lang="es-CO" sz="1400" dirty="0" err="1"/>
              <a:t>the</a:t>
            </a:r>
            <a:r>
              <a:rPr lang="es-CO" sz="1400" dirty="0"/>
              <a:t> </a:t>
            </a:r>
            <a:r>
              <a:rPr lang="es-CO" sz="1400" dirty="0" err="1"/>
              <a:t>corner</a:t>
            </a:r>
            <a:r>
              <a:rPr lang="es-CO" sz="1400" dirty="0"/>
              <a:t> </a:t>
            </a:r>
            <a:r>
              <a:rPr lang="es-CO" sz="1400" dirty="0" err="1"/>
              <a:t>polyhedron</a:t>
            </a:r>
            <a:r>
              <a:rPr lang="es-CO" sz="1400" dirty="0"/>
              <a:t>”. </a:t>
            </a:r>
            <a:r>
              <a:rPr lang="es-CO" sz="1400" dirty="0" err="1"/>
              <a:t>In:Oper</a:t>
            </a:r>
            <a:r>
              <a:rPr lang="es-CO" sz="1400" dirty="0"/>
              <a:t>. Res. Lett.38.3 (2010), pp. 153–155.issn: 01676377.doi:10.1016/j.orl.2010.02.006.url:www.elsevier.com/</a:t>
            </a:r>
            <a:r>
              <a:rPr lang="es-CO" sz="1400" dirty="0" err="1"/>
              <a:t>locate</a:t>
            </a:r>
            <a:r>
              <a:rPr lang="es-CO" sz="1400" dirty="0"/>
              <a:t>/</a:t>
            </a:r>
            <a:r>
              <a:rPr lang="es-CO" sz="1400" dirty="0" err="1"/>
              <a:t>orl</a:t>
            </a:r>
            <a:r>
              <a:rPr lang="es-CO" sz="1400" dirty="0"/>
              <a:t>.</a:t>
            </a:r>
          </a:p>
          <a:p>
            <a:endParaRPr lang="es-CO" dirty="0"/>
          </a:p>
          <a:p>
            <a:r>
              <a:rPr lang="en-US" sz="1400" dirty="0"/>
              <a:t>Matteo </a:t>
            </a:r>
            <a:r>
              <a:rPr lang="en-US" sz="1400" dirty="0" err="1"/>
              <a:t>Fischetti</a:t>
            </a:r>
            <a:r>
              <a:rPr lang="en-US" sz="1400" dirty="0"/>
              <a:t> et al. “A New General-Purpose Algorithm for Mixed-Integer </a:t>
            </a:r>
            <a:r>
              <a:rPr lang="en-US" sz="1400" dirty="0" err="1"/>
              <a:t>BilevelLinear</a:t>
            </a:r>
            <a:r>
              <a:rPr lang="en-US" sz="1400" dirty="0"/>
              <a:t> Programs”. </a:t>
            </a:r>
            <a:r>
              <a:rPr lang="en-US" sz="1400" dirty="0" err="1"/>
              <a:t>In:Oper</a:t>
            </a:r>
            <a:r>
              <a:rPr lang="en-US" sz="1400" dirty="0"/>
              <a:t>. Res.65.6 (Dec. 2017), pp. 1615–1637.issn: 0030-364X.doi:10.1287/opre.2017.1650.url:https://doi.org/10.1287/opre.2017.1650.</a:t>
            </a:r>
          </a:p>
          <a:p>
            <a:endParaRPr lang="en-US" dirty="0"/>
          </a:p>
          <a:p>
            <a:r>
              <a:rPr lang="en-US" sz="1400" dirty="0"/>
              <a:t>J. V. </a:t>
            </a:r>
            <a:r>
              <a:rPr lang="en-US" sz="1400" dirty="0" err="1"/>
              <a:t>Outrata</a:t>
            </a:r>
            <a:r>
              <a:rPr lang="en-US" sz="1400" dirty="0"/>
              <a:t>. “On the numerical solution of a class of </a:t>
            </a:r>
            <a:r>
              <a:rPr lang="en-US" sz="1400" dirty="0" err="1"/>
              <a:t>Stackelberg</a:t>
            </a:r>
            <a:r>
              <a:rPr lang="en-US" sz="1400" dirty="0"/>
              <a:t> problems”. </a:t>
            </a:r>
            <a:r>
              <a:rPr lang="en-US" sz="1400" dirty="0" err="1"/>
              <a:t>In:Zeitschrift</a:t>
            </a:r>
            <a:r>
              <a:rPr lang="en-US" sz="1400" dirty="0"/>
              <a:t> f ̈</a:t>
            </a:r>
            <a:r>
              <a:rPr lang="en-US" sz="1400" dirty="0" err="1"/>
              <a:t>ur</a:t>
            </a:r>
            <a:r>
              <a:rPr lang="en-US" sz="1400" dirty="0"/>
              <a:t> Operations Research34.4 (July 1990), pp. 255–277.issn: 1432-5217.doi:10.1007/BF01416737.url:https://doi.org/10.1007/BF01416737.</a:t>
            </a:r>
          </a:p>
          <a:p>
            <a:endParaRPr lang="en-US" sz="1400" dirty="0"/>
          </a:p>
          <a:p>
            <a:r>
              <a:rPr lang="en-US" sz="1400" dirty="0"/>
              <a:t>Ankur Sinha, </a:t>
            </a:r>
            <a:r>
              <a:rPr lang="en-US" sz="1400" dirty="0" err="1"/>
              <a:t>Pekka</a:t>
            </a:r>
            <a:r>
              <a:rPr lang="en-US" sz="1400" dirty="0"/>
              <a:t> Malo, and </a:t>
            </a:r>
            <a:r>
              <a:rPr lang="en-US" sz="1400" dirty="0" err="1"/>
              <a:t>Kalyanmoy</a:t>
            </a:r>
            <a:r>
              <a:rPr lang="en-US" sz="1400" dirty="0"/>
              <a:t> Deb. “A Review on Bilevel </a:t>
            </a:r>
            <a:r>
              <a:rPr lang="en-US" sz="1400" dirty="0" err="1"/>
              <a:t>Optimization:From</a:t>
            </a:r>
            <a:r>
              <a:rPr lang="en-US" sz="1400" dirty="0"/>
              <a:t> Classical to Evolutionary Approaches and Applications”. </a:t>
            </a:r>
            <a:r>
              <a:rPr lang="en-US" sz="1400" dirty="0" err="1"/>
              <a:t>In:IEEE</a:t>
            </a:r>
            <a:r>
              <a:rPr lang="en-US" sz="1400" dirty="0"/>
              <a:t> </a:t>
            </a:r>
            <a:r>
              <a:rPr lang="en-US" sz="1400" dirty="0" err="1"/>
              <a:t>Transactionson</a:t>
            </a:r>
            <a:r>
              <a:rPr lang="en-US" sz="1400" dirty="0"/>
              <a:t> Evolutionary Computation22 (2017), pp. 276–295.</a:t>
            </a:r>
            <a:br>
              <a:rPr lang="en-US" dirty="0"/>
            </a:br>
            <a:endParaRPr lang="es-CO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318751915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1F4893B-74EC-4228-921E-5AD6A65F4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53</a:t>
            </a:fld>
            <a:endParaRPr lang="es-ES" dirty="0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0D3C88B8-A0C2-4B02-994D-012CDC65073C}"/>
              </a:ext>
            </a:extLst>
          </p:cNvPr>
          <p:cNvSpPr/>
          <p:nvPr/>
        </p:nvSpPr>
        <p:spPr>
          <a:xfrm>
            <a:off x="3027413" y="2967335"/>
            <a:ext cx="308917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hank</a:t>
            </a:r>
            <a:r>
              <a:rPr lang="es-ES" sz="5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s-ES" sz="5400" b="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you</a:t>
            </a:r>
            <a:endParaRPr lang="es-ES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06551FDF-7105-488D-9636-21D18BD53362}"/>
              </a:ext>
            </a:extLst>
          </p:cNvPr>
          <p:cNvSpPr/>
          <p:nvPr/>
        </p:nvSpPr>
        <p:spPr>
          <a:xfrm>
            <a:off x="3809612" y="4365104"/>
            <a:ext cx="152477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3560398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54</a:t>
            </a:fld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4189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schetti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al. (2017)</a:t>
            </a:r>
            <a:endParaRPr lang="es-CO" sz="1100" dirty="0"/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978D60FE-363D-4103-886D-B0CFAECB285D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Solution strategy: Branch and Bound (</a:t>
            </a:r>
            <a:r>
              <a:rPr lang="en-US" sz="2400" b="1" dirty="0" err="1"/>
              <a:t>Fischetti</a:t>
            </a:r>
            <a:r>
              <a:rPr lang="en-US" sz="2400" b="1" dirty="0"/>
              <a:t> et al., 2016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ángulo redondeado 6"/>
              <p:cNvSpPr/>
              <p:nvPr/>
            </p:nvSpPr>
            <p:spPr>
              <a:xfrm>
                <a:off x="755576" y="2017951"/>
                <a:ext cx="2340084" cy="83429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. Solve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s-CO" sz="1600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s-CO" sz="1600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𝐇𝐏𝐑</m:t>
                        </m:r>
                      </m:e>
                    </m:acc>
                  </m:oMath>
                </a14:m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Branch as customary on integer constrained </a:t>
                </a:r>
                <a14:m>
                  <m:oMath xmlns:m="http://schemas.openxmlformats.org/officeDocument/2006/math">
                    <m:r>
                      <a:rPr lang="es-CO" sz="1600" b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s-CO" sz="1600" b="1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𝐱</m:t>
                    </m:r>
                    <m:r>
                      <a:rPr lang="es-CO" sz="1600" b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s-CO" sz="1600" b="1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𝐲</m:t>
                    </m:r>
                    <m:r>
                      <a:rPr lang="es-CO" sz="1600" b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</p:txBody>
          </p:sp>
        </mc:Choice>
        <mc:Fallback xmlns="">
          <p:sp>
            <p:nvSpPr>
              <p:cNvPr id="7" name="Rectángulo redondeado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576" y="2017951"/>
                <a:ext cx="2340084" cy="834290"/>
              </a:xfrm>
              <a:prstGeom prst="roundRect">
                <a:avLst/>
              </a:prstGeom>
              <a:blipFill>
                <a:blip r:embed="rId3"/>
                <a:stretch>
                  <a:fillRect r="-515" b="-7092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ángulo redondeado 7"/>
              <p:cNvSpPr/>
              <p:nvPr/>
            </p:nvSpPr>
            <p:spPr>
              <a:xfrm>
                <a:off x="6141036" y="2017951"/>
                <a:ext cx="2340084" cy="83429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. Solve Follower MILP t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o</m:t>
                    </m:r>
                    <m: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compute</m:t>
                    </m:r>
                    <m: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s-CO" sz="1600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1600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𝛟</m:t>
                        </m:r>
                        <m:r>
                          <a:rPr lang="es-CO" sz="1600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s-CO" sz="1600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s-CO" sz="1600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s-CO" sz="16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8" name="Rectángulo redondeado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1036" y="2017951"/>
                <a:ext cx="2340084" cy="83429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Conector angular 13"/>
          <p:cNvCxnSpPr>
            <a:cxnSpLocks/>
            <a:stCxn id="8" idx="2"/>
            <a:endCxn id="67" idx="0"/>
          </p:cNvCxnSpPr>
          <p:nvPr/>
        </p:nvCxnSpPr>
        <p:spPr>
          <a:xfrm rot="5400000">
            <a:off x="4504463" y="299888"/>
            <a:ext cx="254263" cy="535896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Conector angular 21"/>
          <p:cNvCxnSpPr>
            <a:cxnSpLocks/>
            <a:stCxn id="7" idx="0"/>
            <a:endCxn id="8" idx="0"/>
          </p:cNvCxnSpPr>
          <p:nvPr/>
        </p:nvCxnSpPr>
        <p:spPr>
          <a:xfrm rot="5400000" flipH="1" flipV="1">
            <a:off x="4618348" y="-674779"/>
            <a:ext cx="12700" cy="538546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Conector angular 28"/>
          <p:cNvCxnSpPr>
            <a:cxnSpLocks/>
            <a:stCxn id="67" idx="3"/>
            <a:endCxn id="16" idx="1"/>
          </p:cNvCxnSpPr>
          <p:nvPr/>
        </p:nvCxnSpPr>
        <p:spPr>
          <a:xfrm flipV="1">
            <a:off x="3148643" y="3728403"/>
            <a:ext cx="3122148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ángulo 32"/>
              <p:cNvSpPr/>
              <p:nvPr/>
            </p:nvSpPr>
            <p:spPr>
              <a:xfrm>
                <a:off x="4156540" y="2579633"/>
                <a:ext cx="847508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,</m:t>
                      </m:r>
                      <m:acc>
                        <m:accPr>
                          <m:chr m:val="̂"/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</m:acc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dirty="0"/>
              </a:p>
            </p:txBody>
          </p:sp>
        </mc:Choice>
        <mc:Fallback xmlns="">
          <p:sp>
            <p:nvSpPr>
              <p:cNvPr id="33" name="Rectángulo 3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6540" y="2579633"/>
                <a:ext cx="847508" cy="369332"/>
              </a:xfrm>
              <a:prstGeom prst="rect">
                <a:avLst/>
              </a:prstGeom>
              <a:blipFill>
                <a:blip r:embed="rId5"/>
                <a:stretch>
                  <a:fillRect t="-6557" r="-20144" b="-13115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tángulo 33"/>
              <p:cNvSpPr/>
              <p:nvPr/>
            </p:nvSpPr>
            <p:spPr>
              <a:xfrm>
                <a:off x="4156540" y="1361711"/>
                <a:ext cx="847508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p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dirty="0"/>
              </a:p>
            </p:txBody>
          </p:sp>
        </mc:Choice>
        <mc:Fallback xmlns="">
          <p:sp>
            <p:nvSpPr>
              <p:cNvPr id="34" name="Rectángulo 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6540" y="1361711"/>
                <a:ext cx="847508" cy="369332"/>
              </a:xfrm>
              <a:prstGeom prst="rect">
                <a:avLst/>
              </a:prstGeom>
              <a:blipFill>
                <a:blip r:embed="rId8"/>
                <a:stretch>
                  <a:fillRect l="-2158" r="-9353" b="-13115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ectángulo redondeado 27">
            <a:extLst>
              <a:ext uri="{FF2B5EF4-FFF2-40B4-BE49-F238E27FC236}">
                <a16:creationId xmlns:a16="http://schemas.microsoft.com/office/drawing/2014/main" id="{674715F7-0930-4C0C-80ED-CC5B5B693F54}"/>
              </a:ext>
            </a:extLst>
          </p:cNvPr>
          <p:cNvSpPr/>
          <p:nvPr/>
        </p:nvSpPr>
        <p:spPr>
          <a:xfrm>
            <a:off x="6270791" y="3311258"/>
            <a:ext cx="2340084" cy="83429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es-CO" sz="16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ssibly</a:t>
            </a:r>
            <a:r>
              <a:rPr lang="es-CO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6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pdate</a:t>
            </a:r>
            <a:r>
              <a:rPr lang="es-CO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6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cumbent</a:t>
            </a:r>
            <a:endParaRPr lang="en-US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7F60B7A9-C285-42CF-BED7-21F616F84582}"/>
                  </a:ext>
                </a:extLst>
              </p:cNvPr>
              <p:cNvSpPr/>
              <p:nvPr/>
            </p:nvSpPr>
            <p:spPr>
              <a:xfrm>
                <a:off x="338132" y="4635948"/>
                <a:ext cx="53251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CO" b="0" i="0" smtClean="0">
                          <a:latin typeface="Cambria Math" panose="02040503050406030204" pitchFamily="18" charset="0"/>
                        </a:rPr>
                        <m:t>No</m:t>
                      </m:r>
                    </m:oMath>
                  </m:oMathPara>
                </a14:m>
                <a:endParaRPr lang="es-CO" dirty="0"/>
              </a:p>
            </p:txBody>
          </p:sp>
        </mc:Choice>
        <mc:Fallback xmlns="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7F60B7A9-C285-42CF-BED7-21F616F8458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8132" y="4635948"/>
                <a:ext cx="532518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1" name="Conector angular 28">
            <a:extLst>
              <a:ext uri="{FF2B5EF4-FFF2-40B4-BE49-F238E27FC236}">
                <a16:creationId xmlns:a16="http://schemas.microsoft.com/office/drawing/2014/main" id="{A4A18057-FD51-448A-BE6C-28E1D9B4BE74}"/>
              </a:ext>
            </a:extLst>
          </p:cNvPr>
          <p:cNvCxnSpPr>
            <a:cxnSpLocks/>
            <a:stCxn id="67" idx="1"/>
            <a:endCxn id="75" idx="1"/>
          </p:cNvCxnSpPr>
          <p:nvPr/>
        </p:nvCxnSpPr>
        <p:spPr>
          <a:xfrm rot="10800000" flipV="1">
            <a:off x="703437" y="3728404"/>
            <a:ext cx="52140" cy="1367870"/>
          </a:xfrm>
          <a:prstGeom prst="bentConnector3">
            <a:avLst>
              <a:gd name="adj1" fmla="val 538435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Rectángulo 34">
                <a:extLst>
                  <a:ext uri="{FF2B5EF4-FFF2-40B4-BE49-F238E27FC236}">
                    <a16:creationId xmlns:a16="http://schemas.microsoft.com/office/drawing/2014/main" id="{403310CD-1D23-41A0-A3B6-42CB3A9D14D3}"/>
                  </a:ext>
                </a:extLst>
              </p:cNvPr>
              <p:cNvSpPr/>
              <p:nvPr/>
            </p:nvSpPr>
            <p:spPr>
              <a:xfrm>
                <a:off x="4297948" y="3370338"/>
                <a:ext cx="58060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CO" b="0" i="0" smtClean="0">
                          <a:latin typeface="Cambria Math" panose="02040503050406030204" pitchFamily="18" charset="0"/>
                        </a:rPr>
                        <m:t>Yes</m:t>
                      </m:r>
                    </m:oMath>
                  </m:oMathPara>
                </a14:m>
                <a:endParaRPr lang="es-CO" dirty="0"/>
              </a:p>
            </p:txBody>
          </p:sp>
        </mc:Choice>
        <mc:Fallback xmlns="">
          <p:sp>
            <p:nvSpPr>
              <p:cNvPr id="35" name="Rectángulo 34">
                <a:extLst>
                  <a:ext uri="{FF2B5EF4-FFF2-40B4-BE49-F238E27FC236}">
                    <a16:creationId xmlns:a16="http://schemas.microsoft.com/office/drawing/2014/main" id="{403310CD-1D23-41A0-A3B6-42CB3A9D14D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97948" y="3370338"/>
                <a:ext cx="580607" cy="36933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Rectángulo redondeado 27">
            <a:extLst>
              <a:ext uri="{FF2B5EF4-FFF2-40B4-BE49-F238E27FC236}">
                <a16:creationId xmlns:a16="http://schemas.microsoft.com/office/drawing/2014/main" id="{946EF613-5CEC-4821-A667-075C3BAFC160}"/>
              </a:ext>
            </a:extLst>
          </p:cNvPr>
          <p:cNvSpPr/>
          <p:nvPr/>
        </p:nvSpPr>
        <p:spPr>
          <a:xfrm>
            <a:off x="6181594" y="4572891"/>
            <a:ext cx="2457062" cy="9534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.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eep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ching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eader variables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earing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llower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MILP (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ven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eader variables are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ger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t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de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til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roblema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comes</a:t>
            </a:r>
            <a:r>
              <a:rPr lang="es-CO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feasible</a:t>
            </a:r>
            <a:endParaRPr lang="en-US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2" name="Rectángulo 51">
                <a:extLst>
                  <a:ext uri="{FF2B5EF4-FFF2-40B4-BE49-F238E27FC236}">
                    <a16:creationId xmlns:a16="http://schemas.microsoft.com/office/drawing/2014/main" id="{F7F7A628-1791-4342-B81F-BCC32250FC9E}"/>
                  </a:ext>
                </a:extLst>
              </p:cNvPr>
              <p:cNvSpPr/>
              <p:nvPr/>
            </p:nvSpPr>
            <p:spPr>
              <a:xfrm>
                <a:off x="3510706" y="1758936"/>
                <a:ext cx="213917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CO" sz="14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When</a:t>
                </a:r>
                <a:r>
                  <a:rPr lang="es-CO" sz="1400" b="1" dirty="0"/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s-CO" sz="1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s-CO" sz="1400" b="1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s-CO" sz="1400" b="1">
                                <a:latin typeface="Cambria Math" panose="02040503050406030204" pitchFamily="18" charset="0"/>
                              </a:rPr>
                              <m:t>𝐱</m:t>
                            </m:r>
                          </m:e>
                          <m:sup>
                            <m:r>
                              <a:rPr lang="es-CO" sz="1400" b="1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es-CO" sz="1400" b="1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es-CO" sz="1400" b="1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s-CO" sz="1400" b="1">
                                <a:latin typeface="Cambria Math" panose="02040503050406030204" pitchFamily="18" charset="0"/>
                              </a:rPr>
                              <m:t>𝐲</m:t>
                            </m:r>
                          </m:e>
                          <m:sup>
                            <m:r>
                              <a:rPr lang="es-CO" sz="1400" b="1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es-CO" sz="1400" b="1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s-CO" sz="1400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1400" b="1" i="1" smtClean="0">
                            <a:latin typeface="Cambria Math" panose="02040503050406030204" pitchFamily="18" charset="0"/>
                          </a:rPr>
                          <m:t>ℤ</m:t>
                        </m:r>
                      </m:e>
                      <m:sup>
                        <m:r>
                          <a:rPr lang="es-CO" sz="1400" b="1" i="1" smtClean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r>
                      <a:rPr lang="es-CO" sz="1400" b="1" i="1" smtClean="0">
                        <a:latin typeface="Cambria Math" panose="02040503050406030204" pitchFamily="18" charset="0"/>
                      </a:rPr>
                      <m:t>∪</m:t>
                    </m:r>
                    <m:d>
                      <m:dPr>
                        <m:begChr m:val="{"/>
                        <m:endChr m:val="}"/>
                        <m:ctrlPr>
                          <a:rPr lang="es-CO" sz="14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s-CO" sz="14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e>
                    </m:d>
                  </m:oMath>
                </a14:m>
                <a:endParaRPr lang="es-CO" sz="1400" i="1" dirty="0"/>
              </a:p>
            </p:txBody>
          </p:sp>
        </mc:Choice>
        <mc:Fallback xmlns="">
          <p:sp>
            <p:nvSpPr>
              <p:cNvPr id="52" name="Rectángulo 51">
                <a:extLst>
                  <a:ext uri="{FF2B5EF4-FFF2-40B4-BE49-F238E27FC236}">
                    <a16:creationId xmlns:a16="http://schemas.microsoft.com/office/drawing/2014/main" id="{F7F7A628-1791-4342-B81F-BCC32250FC9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10706" y="1758936"/>
                <a:ext cx="2139175" cy="307777"/>
              </a:xfrm>
              <a:prstGeom prst="rect">
                <a:avLst/>
              </a:prstGeom>
              <a:blipFill>
                <a:blip r:embed="rId11"/>
                <a:stretch>
                  <a:fillRect l="-855" t="-6000" b="-18000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Rombo 66">
                <a:extLst>
                  <a:ext uri="{FF2B5EF4-FFF2-40B4-BE49-F238E27FC236}">
                    <a16:creationId xmlns:a16="http://schemas.microsoft.com/office/drawing/2014/main" id="{7058E743-BEFB-4898-A791-3A0D64ACD1FA}"/>
                  </a:ext>
                </a:extLst>
              </p:cNvPr>
              <p:cNvSpPr/>
              <p:nvPr/>
            </p:nvSpPr>
            <p:spPr>
              <a:xfrm>
                <a:off x="755577" y="3106504"/>
                <a:ext cx="2393066" cy="1243799"/>
              </a:xfrm>
              <a:prstGeom prst="diamond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CO" sz="1200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1200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𝐝</m:t>
                        </m:r>
                      </m:e>
                      <m:sup>
                        <m:r>
                          <a:rPr lang="es-CO" sz="1200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𝐓</m:t>
                        </m:r>
                      </m:sup>
                    </m:sSup>
                    <m:sSup>
                      <m:sSupPr>
                        <m:ctrlPr>
                          <a:rPr lang="es-CO" sz="1200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1200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e>
                      <m:sup>
                        <m:r>
                          <a:rPr lang="es-CO" sz="1200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s-CO" sz="1200" b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≤</m:t>
                    </m:r>
                    <m:r>
                      <a:rPr lang="es-CO" sz="1200" b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𝛟</m:t>
                    </m:r>
                    <m:r>
                      <a:rPr lang="es-CO" sz="1200" b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s-CO" sz="1200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1200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s-CO" sz="1200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s-CO" sz="1200" b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s-CO" sz="1200" b="1" dirty="0"/>
              </a:p>
            </p:txBody>
          </p:sp>
        </mc:Choice>
        <mc:Fallback xmlns="">
          <p:sp>
            <p:nvSpPr>
              <p:cNvPr id="67" name="Rombo 66">
                <a:extLst>
                  <a:ext uri="{FF2B5EF4-FFF2-40B4-BE49-F238E27FC236}">
                    <a16:creationId xmlns:a16="http://schemas.microsoft.com/office/drawing/2014/main" id="{7058E743-BEFB-4898-A791-3A0D64ACD1F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577" y="3106504"/>
                <a:ext cx="2393066" cy="1243799"/>
              </a:xfrm>
              <a:prstGeom prst="diamond">
                <a:avLst/>
              </a:prstGeom>
              <a:blipFill>
                <a:blip r:embed="rId12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5" name="Rombo 74">
            <a:extLst>
              <a:ext uri="{FF2B5EF4-FFF2-40B4-BE49-F238E27FC236}">
                <a16:creationId xmlns:a16="http://schemas.microsoft.com/office/drawing/2014/main" id="{2B50F566-0E3E-4879-BBEF-AC330BFFDE87}"/>
              </a:ext>
            </a:extLst>
          </p:cNvPr>
          <p:cNvSpPr/>
          <p:nvPr/>
        </p:nvSpPr>
        <p:spPr>
          <a:xfrm>
            <a:off x="703437" y="4431311"/>
            <a:ext cx="2521429" cy="1329926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l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eader variables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ve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en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xed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ching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  <a:endParaRPr lang="es-CO" sz="1200" dirty="0"/>
          </a:p>
          <a:p>
            <a:pPr algn="ctr"/>
            <a:endParaRPr lang="es-CO" sz="1200" b="1" dirty="0"/>
          </a:p>
        </p:txBody>
      </p:sp>
      <p:cxnSp>
        <p:nvCxnSpPr>
          <p:cNvPr id="78" name="Conector angular 28">
            <a:extLst>
              <a:ext uri="{FF2B5EF4-FFF2-40B4-BE49-F238E27FC236}">
                <a16:creationId xmlns:a16="http://schemas.microsoft.com/office/drawing/2014/main" id="{4CA339ED-5F75-44C0-BC24-11BD650EFA4D}"/>
              </a:ext>
            </a:extLst>
          </p:cNvPr>
          <p:cNvCxnSpPr>
            <a:cxnSpLocks/>
            <a:stCxn id="75" idx="3"/>
            <a:endCxn id="84" idx="1"/>
          </p:cNvCxnSpPr>
          <p:nvPr/>
        </p:nvCxnSpPr>
        <p:spPr>
          <a:xfrm flipV="1">
            <a:off x="3224866" y="4346602"/>
            <a:ext cx="487438" cy="74967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Rectángulo 82">
                <a:extLst>
                  <a:ext uri="{FF2B5EF4-FFF2-40B4-BE49-F238E27FC236}">
                    <a16:creationId xmlns:a16="http://schemas.microsoft.com/office/drawing/2014/main" id="{B75E5584-9AFD-4E26-906F-4ABF65A7EE04}"/>
                  </a:ext>
                </a:extLst>
              </p:cNvPr>
              <p:cNvSpPr/>
              <p:nvPr/>
            </p:nvSpPr>
            <p:spPr>
              <a:xfrm>
                <a:off x="2841353" y="4635947"/>
                <a:ext cx="58060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CO" b="0" i="0" smtClean="0">
                          <a:latin typeface="Cambria Math" panose="02040503050406030204" pitchFamily="18" charset="0"/>
                        </a:rPr>
                        <m:t>Yes</m:t>
                      </m:r>
                    </m:oMath>
                  </m:oMathPara>
                </a14:m>
                <a:endParaRPr lang="es-CO" dirty="0"/>
              </a:p>
            </p:txBody>
          </p:sp>
        </mc:Choice>
        <mc:Fallback xmlns="">
          <p:sp>
            <p:nvSpPr>
              <p:cNvPr id="83" name="Rectángulo 82">
                <a:extLst>
                  <a:ext uri="{FF2B5EF4-FFF2-40B4-BE49-F238E27FC236}">
                    <a16:creationId xmlns:a16="http://schemas.microsoft.com/office/drawing/2014/main" id="{B75E5584-9AFD-4E26-906F-4ABF65A7EE0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1353" y="4635947"/>
                <a:ext cx="580607" cy="36933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Rectángulo redondeado 27">
                <a:extLst>
                  <a:ext uri="{FF2B5EF4-FFF2-40B4-BE49-F238E27FC236}">
                    <a16:creationId xmlns:a16="http://schemas.microsoft.com/office/drawing/2014/main" id="{CCC007FD-8D5D-426D-997E-E4F78CF6439F}"/>
                  </a:ext>
                </a:extLst>
              </p:cNvPr>
              <p:cNvSpPr/>
              <p:nvPr/>
            </p:nvSpPr>
            <p:spPr>
              <a:xfrm>
                <a:off x="3712304" y="3954064"/>
                <a:ext cx="1751897" cy="785075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. Let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s-CO" sz="1400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s-CO" sz="1400" b="1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s-CO" sz="1400" b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𝐱</m:t>
                            </m:r>
                          </m:e>
                          <m:sup>
                            <m:r>
                              <a:rPr lang="es-CO" sz="1400" b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es-CO" sz="1400" b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acc>
                          <m:accPr>
                            <m:chr m:val="̂"/>
                            <m:ctrlPr>
                              <a:rPr lang="es-CO" sz="1400" b="1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s-CO" sz="1400" b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𝐲</m:t>
                            </m:r>
                          </m:e>
                        </m:acc>
                      </m:e>
                    </m:d>
                  </m:oMath>
                </a14:m>
                <a:r>
                  <a:rPr lang="en-US" sz="1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be the best bi-level solution at the current node </a:t>
                </a:r>
                <a:endParaRPr lang="en-US" sz="11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4" name="Rectángulo redondeado 27">
                <a:extLst>
                  <a:ext uri="{FF2B5EF4-FFF2-40B4-BE49-F238E27FC236}">
                    <a16:creationId xmlns:a16="http://schemas.microsoft.com/office/drawing/2014/main" id="{CCC007FD-8D5D-426D-997E-E4F78CF6439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2304" y="3954064"/>
                <a:ext cx="1751897" cy="785075"/>
              </a:xfrm>
              <a:prstGeom prst="roundRect">
                <a:avLst/>
              </a:prstGeom>
              <a:blipFill>
                <a:blip r:embed="rId14"/>
                <a:stretch>
                  <a:fillRect r="-1031" b="-3788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5" name="Rectángulo redondeado 27">
            <a:extLst>
              <a:ext uri="{FF2B5EF4-FFF2-40B4-BE49-F238E27FC236}">
                <a16:creationId xmlns:a16="http://schemas.microsoft.com/office/drawing/2014/main" id="{100E6650-F3A0-4A35-9601-D0BA9A6B35EF}"/>
              </a:ext>
            </a:extLst>
          </p:cNvPr>
          <p:cNvSpPr/>
          <p:nvPr/>
        </p:nvSpPr>
        <p:spPr>
          <a:xfrm>
            <a:off x="3712305" y="4852405"/>
            <a:ext cx="1852646" cy="9534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. 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ch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y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eader variable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t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xed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ching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et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ven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eader variable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ger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t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rrent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CO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de</a:t>
            </a:r>
            <a:r>
              <a:rPr lang="es-CO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05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89" name="Conector angular 28">
            <a:extLst>
              <a:ext uri="{FF2B5EF4-FFF2-40B4-BE49-F238E27FC236}">
                <a16:creationId xmlns:a16="http://schemas.microsoft.com/office/drawing/2014/main" id="{FF7DA45E-4B62-4C4E-A333-FE6253E1C0B0}"/>
              </a:ext>
            </a:extLst>
          </p:cNvPr>
          <p:cNvCxnSpPr>
            <a:cxnSpLocks/>
            <a:stCxn id="84" idx="3"/>
            <a:endCxn id="16" idx="2"/>
          </p:cNvCxnSpPr>
          <p:nvPr/>
        </p:nvCxnSpPr>
        <p:spPr>
          <a:xfrm flipV="1">
            <a:off x="5464201" y="4145548"/>
            <a:ext cx="1976632" cy="201054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2" name="Conector angular 28">
            <a:extLst>
              <a:ext uri="{FF2B5EF4-FFF2-40B4-BE49-F238E27FC236}">
                <a16:creationId xmlns:a16="http://schemas.microsoft.com/office/drawing/2014/main" id="{F25C2506-4CB2-4DE1-8385-A9E810F20C0F}"/>
              </a:ext>
            </a:extLst>
          </p:cNvPr>
          <p:cNvCxnSpPr>
            <a:cxnSpLocks/>
            <a:stCxn id="16" idx="3"/>
            <a:endCxn id="42" idx="3"/>
          </p:cNvCxnSpPr>
          <p:nvPr/>
        </p:nvCxnSpPr>
        <p:spPr>
          <a:xfrm>
            <a:off x="8610875" y="3728403"/>
            <a:ext cx="27781" cy="1321236"/>
          </a:xfrm>
          <a:prstGeom prst="bentConnector3">
            <a:avLst>
              <a:gd name="adj1" fmla="val 922865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7" name="Conector angular 28">
            <a:extLst>
              <a:ext uri="{FF2B5EF4-FFF2-40B4-BE49-F238E27FC236}">
                <a16:creationId xmlns:a16="http://schemas.microsoft.com/office/drawing/2014/main" id="{C891FC7B-6261-4E36-B90C-3A62626ACFDE}"/>
              </a:ext>
            </a:extLst>
          </p:cNvPr>
          <p:cNvCxnSpPr>
            <a:cxnSpLocks/>
            <a:stCxn id="75" idx="2"/>
          </p:cNvCxnSpPr>
          <p:nvPr/>
        </p:nvCxnSpPr>
        <p:spPr>
          <a:xfrm rot="5400000" flipH="1" flipV="1">
            <a:off x="2663084" y="4712015"/>
            <a:ext cx="350290" cy="1748154"/>
          </a:xfrm>
          <a:prstGeom prst="bentConnector4">
            <a:avLst>
              <a:gd name="adj1" fmla="val -7251"/>
              <a:gd name="adj2" fmla="val 86058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Rectángulo 101">
                <a:extLst>
                  <a:ext uri="{FF2B5EF4-FFF2-40B4-BE49-F238E27FC236}">
                    <a16:creationId xmlns:a16="http://schemas.microsoft.com/office/drawing/2014/main" id="{5761D3DA-5761-4390-84F1-B99EAFC4BF24}"/>
                  </a:ext>
                </a:extLst>
              </p:cNvPr>
              <p:cNvSpPr/>
              <p:nvPr/>
            </p:nvSpPr>
            <p:spPr>
              <a:xfrm>
                <a:off x="2978188" y="5454738"/>
                <a:ext cx="53251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CO" b="0" i="0" smtClean="0">
                          <a:latin typeface="Cambria Math" panose="02040503050406030204" pitchFamily="18" charset="0"/>
                        </a:rPr>
                        <m:t>No</m:t>
                      </m:r>
                    </m:oMath>
                  </m:oMathPara>
                </a14:m>
                <a:endParaRPr lang="es-CO" dirty="0"/>
              </a:p>
            </p:txBody>
          </p:sp>
        </mc:Choice>
        <mc:Fallback xmlns="">
          <p:sp>
            <p:nvSpPr>
              <p:cNvPr id="102" name="Rectángulo 101">
                <a:extLst>
                  <a:ext uri="{FF2B5EF4-FFF2-40B4-BE49-F238E27FC236}">
                    <a16:creationId xmlns:a16="http://schemas.microsoft.com/office/drawing/2014/main" id="{5761D3DA-5761-4390-84F1-B99EAFC4BF2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78188" y="5454738"/>
                <a:ext cx="532518" cy="369332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4" name="Conector angular 13">
            <a:extLst>
              <a:ext uri="{FF2B5EF4-FFF2-40B4-BE49-F238E27FC236}">
                <a16:creationId xmlns:a16="http://schemas.microsoft.com/office/drawing/2014/main" id="{24CECD68-B60F-4416-827B-93972AE7E44D}"/>
              </a:ext>
            </a:extLst>
          </p:cNvPr>
          <p:cNvCxnSpPr>
            <a:cxnSpLocks/>
            <a:stCxn id="85" idx="2"/>
            <a:endCxn id="7" idx="1"/>
          </p:cNvCxnSpPr>
          <p:nvPr/>
        </p:nvCxnSpPr>
        <p:spPr>
          <a:xfrm rot="5400000" flipH="1">
            <a:off x="1011699" y="2178973"/>
            <a:ext cx="3370805" cy="3883052"/>
          </a:xfrm>
          <a:prstGeom prst="bentConnector4">
            <a:avLst>
              <a:gd name="adj1" fmla="val -12057"/>
              <a:gd name="adj2" fmla="val 113082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537968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55</a:t>
            </a:fld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4189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schetti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al. (2017)</a:t>
            </a:r>
            <a:endParaRPr lang="es-CO" sz="1100" dirty="0"/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978D60FE-363D-4103-886D-B0CFAECB285D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Solution strategy: Branch and Cut (</a:t>
            </a:r>
            <a:r>
              <a:rPr lang="en-US" sz="2400" b="1" dirty="0" err="1"/>
              <a:t>Fischetti</a:t>
            </a:r>
            <a:r>
              <a:rPr lang="en-US" sz="2400" b="1" dirty="0"/>
              <a:t> et al., 2017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ángulo redondeado 6"/>
              <p:cNvSpPr/>
              <p:nvPr/>
            </p:nvSpPr>
            <p:spPr>
              <a:xfrm>
                <a:off x="755576" y="1988840"/>
                <a:ext cx="2340084" cy="83429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. Solve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s-CO" sz="1600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s-CO" sz="1600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𝐇𝐏𝐑</m:t>
                        </m:r>
                      </m:e>
                    </m:acc>
                    <m:r>
                      <a:rPr lang="es-CO" sz="16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m:rPr>
                        <m:sty m:val="p"/>
                      </m:rP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standard</m:t>
                    </m:r>
                    <m: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form</m:t>
                    </m:r>
                    <m: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7" name="Rectángulo redondeado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576" y="1988840"/>
                <a:ext cx="2340084" cy="834290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ángulo redondeado 7"/>
              <p:cNvSpPr/>
              <p:nvPr/>
            </p:nvSpPr>
            <p:spPr>
              <a:xfrm>
                <a:off x="6141036" y="1988840"/>
                <a:ext cx="2340084" cy="83429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. Solve Follower MILP fo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CO" sz="1600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1600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s-CO" sz="1600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8" name="Rectángulo redondeado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1036" y="1988840"/>
                <a:ext cx="2340084" cy="83429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ángulo redondeado 14"/>
              <p:cNvSpPr/>
              <p:nvPr/>
            </p:nvSpPr>
            <p:spPr>
              <a:xfrm>
                <a:off x="755576" y="3933056"/>
                <a:ext cx="2340084" cy="83429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 Retrieve a feasible Bi-level solution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sz="1600" b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sz="16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sz="16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sz="1600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acc>
                        <m:accPr>
                          <m:chr m:val="̂"/>
                          <m:ctrlPr>
                            <a:rPr lang="es-CO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CO" sz="1600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</m:acc>
                      <m:r>
                        <a:rPr lang="es-CO" sz="1600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sz="1600" dirty="0"/>
              </a:p>
            </p:txBody>
          </p:sp>
        </mc:Choice>
        <mc:Fallback xmlns="">
          <p:sp>
            <p:nvSpPr>
              <p:cNvPr id="15" name="Rectángulo redondeado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576" y="3933056"/>
                <a:ext cx="2340084" cy="834290"/>
              </a:xfrm>
              <a:prstGeom prst="roundRect">
                <a:avLst/>
              </a:prstGeom>
              <a:blipFill>
                <a:blip r:embed="rId5"/>
                <a:stretch>
                  <a:fillRect b="-2128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Conector angular 13"/>
          <p:cNvCxnSpPr>
            <a:stCxn id="8" idx="2"/>
            <a:endCxn id="15" idx="0"/>
          </p:cNvCxnSpPr>
          <p:nvPr/>
        </p:nvCxnSpPr>
        <p:spPr>
          <a:xfrm rot="5400000">
            <a:off x="4063385" y="685363"/>
            <a:ext cx="1109926" cy="5385460"/>
          </a:xfrm>
          <a:prstGeom prst="bentConnector3">
            <a:avLst>
              <a:gd name="adj1" fmla="val 59154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Conector angular 21"/>
          <p:cNvCxnSpPr>
            <a:stCxn id="7" idx="0"/>
            <a:endCxn id="8" idx="0"/>
          </p:cNvCxnSpPr>
          <p:nvPr/>
        </p:nvCxnSpPr>
        <p:spPr>
          <a:xfrm rot="5400000" flipH="1" flipV="1">
            <a:off x="4618348" y="-703890"/>
            <a:ext cx="12700" cy="538546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Conector angular 28"/>
          <p:cNvCxnSpPr>
            <a:cxnSpLocks/>
            <a:stCxn id="15" idx="2"/>
            <a:endCxn id="16" idx="2"/>
          </p:cNvCxnSpPr>
          <p:nvPr/>
        </p:nvCxnSpPr>
        <p:spPr>
          <a:xfrm rot="5400000" flipH="1" flipV="1">
            <a:off x="4600041" y="2049960"/>
            <a:ext cx="42963" cy="5391810"/>
          </a:xfrm>
          <a:prstGeom prst="bentConnector3">
            <a:avLst>
              <a:gd name="adj1" fmla="val -532086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ángulo 32"/>
              <p:cNvSpPr/>
              <p:nvPr/>
            </p:nvSpPr>
            <p:spPr>
              <a:xfrm>
                <a:off x="4194594" y="3008761"/>
                <a:ext cx="847508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,</m:t>
                      </m:r>
                      <m:acc>
                        <m:accPr>
                          <m:chr m:val="̂"/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</m:acc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dirty="0"/>
              </a:p>
            </p:txBody>
          </p:sp>
        </mc:Choice>
        <mc:Fallback xmlns="">
          <p:sp>
            <p:nvSpPr>
              <p:cNvPr id="33" name="Rectángulo 3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94594" y="3008761"/>
                <a:ext cx="847508" cy="369332"/>
              </a:xfrm>
              <a:prstGeom prst="rect">
                <a:avLst/>
              </a:prstGeom>
              <a:blipFill>
                <a:blip r:embed="rId6"/>
                <a:stretch>
                  <a:fillRect t="-6667" r="-20863" b="-13333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tángulo 33"/>
              <p:cNvSpPr/>
              <p:nvPr/>
            </p:nvSpPr>
            <p:spPr>
              <a:xfrm>
                <a:off x="4156540" y="1361711"/>
                <a:ext cx="847508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p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dirty="0"/>
              </a:p>
            </p:txBody>
          </p:sp>
        </mc:Choice>
        <mc:Fallback xmlns="">
          <p:sp>
            <p:nvSpPr>
              <p:cNvPr id="34" name="Rectángulo 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6540" y="1361711"/>
                <a:ext cx="847508" cy="369332"/>
              </a:xfrm>
              <a:prstGeom prst="rect">
                <a:avLst/>
              </a:prstGeom>
              <a:blipFill>
                <a:blip r:embed="rId8"/>
                <a:stretch>
                  <a:fillRect l="-2158" r="-9353" b="-13115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ángulo redondeado 27">
                <a:extLst>
                  <a:ext uri="{FF2B5EF4-FFF2-40B4-BE49-F238E27FC236}">
                    <a16:creationId xmlns:a16="http://schemas.microsoft.com/office/drawing/2014/main" id="{674715F7-0930-4C0C-80ED-CC5B5B693F54}"/>
                  </a:ext>
                </a:extLst>
              </p:cNvPr>
              <p:cNvSpPr/>
              <p:nvPr/>
            </p:nvSpPr>
            <p:spPr>
              <a:xfrm>
                <a:off x="6147386" y="3890093"/>
                <a:ext cx="2340084" cy="83429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. Derive cutting planes</a:t>
                </a:r>
              </a:p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utting off </a:t>
                </a:r>
                <a14:m>
                  <m:oMath xmlns:m="http://schemas.openxmlformats.org/officeDocument/2006/math">
                    <m:r>
                      <a:rPr lang="en-US" sz="16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s-MX" sz="16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n-US" sz="1600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x</m:t>
                        </m:r>
                      </m:e>
                      <m:sup>
                        <m:r>
                          <a:rPr lang="es-MX" sz="16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1600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es-MX" sz="16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n-US" sz="1600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p>
                        <m:r>
                          <a:rPr lang="es-MX" sz="16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16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6" name="Rectángulo redondeado 27">
                <a:extLst>
                  <a:ext uri="{FF2B5EF4-FFF2-40B4-BE49-F238E27FC236}">
                    <a16:creationId xmlns:a16="http://schemas.microsoft.com/office/drawing/2014/main" id="{674715F7-0930-4C0C-80ED-CC5B5B693F5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7386" y="3890093"/>
                <a:ext cx="2340084" cy="834290"/>
              </a:xfrm>
              <a:prstGeom prst="roundRect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95295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56</a:t>
            </a:fld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4189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schetti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al. (2017)</a:t>
            </a:r>
            <a:endParaRPr lang="es-CO" sz="1100" dirty="0"/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978D60FE-363D-4103-886D-B0CFAECB285D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Solution strategy: Branch and Cut (</a:t>
            </a:r>
            <a:r>
              <a:rPr lang="en-US" sz="2400" b="1" dirty="0" err="1"/>
              <a:t>Fischetti</a:t>
            </a:r>
            <a:r>
              <a:rPr lang="en-US" sz="2400" b="1" dirty="0"/>
              <a:t> et al., 2017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ángulo redondeado 7"/>
              <p:cNvSpPr/>
              <p:nvPr/>
            </p:nvSpPr>
            <p:spPr>
              <a:xfrm>
                <a:off x="6141036" y="1988840"/>
                <a:ext cx="2340084" cy="83429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. Solve Follower MILP fo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CO" sz="1600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1600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p>
                        <m:r>
                          <a:rPr lang="es-CO" sz="1600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8" name="Rectángulo redondeado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1036" y="1988840"/>
                <a:ext cx="2340084" cy="834290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ángulo redondeado 14"/>
              <p:cNvSpPr/>
              <p:nvPr/>
            </p:nvSpPr>
            <p:spPr>
              <a:xfrm>
                <a:off x="755576" y="3933056"/>
                <a:ext cx="2340084" cy="83429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. Retrieve a feasible Bi-level solution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sz="1600" b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sz="16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sz="16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sz="1600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acc>
                        <m:accPr>
                          <m:chr m:val="̂"/>
                          <m:ctrlPr>
                            <a:rPr lang="es-CO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CO" sz="1600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</m:acc>
                      <m:r>
                        <a:rPr lang="es-CO" sz="1600" b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sz="1600" dirty="0"/>
              </a:p>
            </p:txBody>
          </p:sp>
        </mc:Choice>
        <mc:Fallback xmlns="">
          <p:sp>
            <p:nvSpPr>
              <p:cNvPr id="15" name="Rectángulo redondeado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576" y="3933056"/>
                <a:ext cx="2340084" cy="834290"/>
              </a:xfrm>
              <a:prstGeom prst="roundRect">
                <a:avLst/>
              </a:prstGeom>
              <a:blipFill>
                <a:blip r:embed="rId4"/>
                <a:stretch>
                  <a:fillRect b="-2128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Conector angular 13"/>
          <p:cNvCxnSpPr>
            <a:stCxn id="8" idx="2"/>
            <a:endCxn id="15" idx="0"/>
          </p:cNvCxnSpPr>
          <p:nvPr/>
        </p:nvCxnSpPr>
        <p:spPr>
          <a:xfrm rot="5400000">
            <a:off x="4063385" y="685363"/>
            <a:ext cx="1109926" cy="5385460"/>
          </a:xfrm>
          <a:prstGeom prst="bentConnector3">
            <a:avLst>
              <a:gd name="adj1" fmla="val 59154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Conector angular 21"/>
          <p:cNvCxnSpPr>
            <a:cxnSpLocks/>
            <a:endCxn id="8" idx="0"/>
          </p:cNvCxnSpPr>
          <p:nvPr/>
        </p:nvCxnSpPr>
        <p:spPr>
          <a:xfrm rot="5400000" flipH="1" flipV="1">
            <a:off x="4618348" y="-703890"/>
            <a:ext cx="12700" cy="538546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ángulo redondeado 27"/>
              <p:cNvSpPr/>
              <p:nvPr/>
            </p:nvSpPr>
            <p:spPr>
              <a:xfrm>
                <a:off x="6147386" y="3890093"/>
                <a:ext cx="2340084" cy="834290"/>
              </a:xfrm>
              <a:prstGeom prst="round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. Derive cutting planes</a:t>
                </a:r>
              </a:p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utting off </a:t>
                </a:r>
                <a14:m>
                  <m:oMath xmlns:m="http://schemas.openxmlformats.org/officeDocument/2006/math">
                    <m:r>
                      <a:rPr lang="en-US" sz="1600" i="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s-MX" sz="16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n-US" sz="1600" i="0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x</m:t>
                        </m:r>
                      </m:e>
                      <m:sup>
                        <m:r>
                          <a:rPr lang="es-MX" sz="1600" i="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1600" i="0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es-MX" sz="16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n-US" sz="1600" i="0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p>
                        <m:r>
                          <a:rPr lang="es-MX" sz="1600" i="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1600" i="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8" name="Rectángulo redondeado 2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7386" y="3890093"/>
                <a:ext cx="2340084" cy="83429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9" name="Conector angular 28"/>
          <p:cNvCxnSpPr>
            <a:stCxn id="15" idx="2"/>
            <a:endCxn id="28" idx="2"/>
          </p:cNvCxnSpPr>
          <p:nvPr/>
        </p:nvCxnSpPr>
        <p:spPr>
          <a:xfrm rot="5400000" flipH="1" flipV="1">
            <a:off x="4600041" y="2049960"/>
            <a:ext cx="42963" cy="5391810"/>
          </a:xfrm>
          <a:prstGeom prst="bentConnector3">
            <a:avLst>
              <a:gd name="adj1" fmla="val -532086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ángulo 32"/>
              <p:cNvSpPr/>
              <p:nvPr/>
            </p:nvSpPr>
            <p:spPr>
              <a:xfrm>
                <a:off x="4194594" y="3008761"/>
                <a:ext cx="847508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,</m:t>
                      </m:r>
                      <m:acc>
                        <m:accPr>
                          <m:chr m:val="̂"/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</m:acc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dirty="0"/>
              </a:p>
            </p:txBody>
          </p:sp>
        </mc:Choice>
        <mc:Fallback xmlns="">
          <p:sp>
            <p:nvSpPr>
              <p:cNvPr id="33" name="Rectángulo 3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94594" y="3008761"/>
                <a:ext cx="847508" cy="369332"/>
              </a:xfrm>
              <a:prstGeom prst="rect">
                <a:avLst/>
              </a:prstGeom>
              <a:blipFill>
                <a:blip r:embed="rId7"/>
                <a:stretch>
                  <a:fillRect t="-6667" r="-20863" b="-13333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tángulo 33"/>
              <p:cNvSpPr/>
              <p:nvPr/>
            </p:nvSpPr>
            <p:spPr>
              <a:xfrm>
                <a:off x="4156540" y="1361711"/>
                <a:ext cx="847508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p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s-CO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p>
                          <m:r>
                            <a:rPr lang="es-CO" b="1" i="0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s-CO" b="1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CO" dirty="0"/>
              </a:p>
            </p:txBody>
          </p:sp>
        </mc:Choice>
        <mc:Fallback xmlns="">
          <p:sp>
            <p:nvSpPr>
              <p:cNvPr id="34" name="Rectángulo 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6540" y="1361711"/>
                <a:ext cx="847508" cy="369332"/>
              </a:xfrm>
              <a:prstGeom prst="rect">
                <a:avLst/>
              </a:prstGeom>
              <a:blipFill>
                <a:blip r:embed="rId8"/>
                <a:stretch>
                  <a:fillRect l="-2158" r="-9353" b="-13115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ángulo redondeado 6">
                <a:extLst>
                  <a:ext uri="{FF2B5EF4-FFF2-40B4-BE49-F238E27FC236}">
                    <a16:creationId xmlns:a16="http://schemas.microsoft.com/office/drawing/2014/main" id="{5689AC7A-7023-424D-8D66-2AD4CE3CDAD4}"/>
                  </a:ext>
                </a:extLst>
              </p:cNvPr>
              <p:cNvSpPr/>
              <p:nvPr/>
            </p:nvSpPr>
            <p:spPr>
              <a:xfrm>
                <a:off x="755576" y="1988840"/>
                <a:ext cx="2340084" cy="83429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. Solve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s-CO" sz="1600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s-CO" sz="1600" b="1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𝐇𝐏𝐑</m:t>
                        </m:r>
                      </m:e>
                    </m:acc>
                    <m:r>
                      <a:rPr lang="es-CO" sz="16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m:rPr>
                        <m:sty m:val="p"/>
                      </m:rP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standard</m:t>
                    </m:r>
                    <m: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form</m:t>
                    </m:r>
                    <m:r>
                      <a:rPr lang="es-CO" sz="16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6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6" name="Rectángulo redondeado 6">
                <a:extLst>
                  <a:ext uri="{FF2B5EF4-FFF2-40B4-BE49-F238E27FC236}">
                    <a16:creationId xmlns:a16="http://schemas.microsoft.com/office/drawing/2014/main" id="{5689AC7A-7023-424D-8D66-2AD4CE3CDA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576" y="1988840"/>
                <a:ext cx="2340084" cy="834290"/>
              </a:xfrm>
              <a:prstGeom prst="roundRect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1431607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57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B&amp;B*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3E9F75A8-DA31-479C-A32A-0744587A32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831" y="1988840"/>
            <a:ext cx="7450289" cy="3519375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EF1AA2CD-9EE4-44D8-B169-E1CB45099E72}"/>
              </a:ext>
            </a:extLst>
          </p:cNvPr>
          <p:cNvSpPr/>
          <p:nvPr/>
        </p:nvSpPr>
        <p:spPr>
          <a:xfrm>
            <a:off x="2287335" y="1192188"/>
            <a:ext cx="456932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0" cap="none" spc="0" dirty="0" err="1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oad’s</a:t>
            </a:r>
            <a:r>
              <a:rPr lang="es-ES" sz="40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performance</a:t>
            </a:r>
            <a:endParaRPr lang="es-E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560750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58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B&amp;B*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120970B-AA9B-409E-BA3B-11F1B2C577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498" y="1988840"/>
            <a:ext cx="7289002" cy="3537520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DDD04C1B-DBAB-4710-9E74-55433F63AE56}"/>
              </a:ext>
            </a:extLst>
          </p:cNvPr>
          <p:cNvSpPr/>
          <p:nvPr/>
        </p:nvSpPr>
        <p:spPr>
          <a:xfrm>
            <a:off x="2287335" y="1192188"/>
            <a:ext cx="456932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0" cap="none" spc="0" dirty="0" err="1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oad’s</a:t>
            </a:r>
            <a:r>
              <a:rPr lang="es-ES" sz="40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performance</a:t>
            </a:r>
            <a:endParaRPr lang="es-E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009763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59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B&amp;B*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C01203F1-2B10-485C-9C58-F700C61FA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210" y="1900074"/>
            <a:ext cx="7837580" cy="3681288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19265829-4E34-4318-BEAF-C10E97EC8113}"/>
              </a:ext>
            </a:extLst>
          </p:cNvPr>
          <p:cNvSpPr/>
          <p:nvPr/>
        </p:nvSpPr>
        <p:spPr>
          <a:xfrm>
            <a:off x="1624722" y="1192188"/>
            <a:ext cx="5894563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0" cap="none" spc="0" dirty="0" err="1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Inspection</a:t>
            </a:r>
            <a:r>
              <a:rPr lang="es-ES" sz="40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&amp; </a:t>
            </a:r>
            <a:r>
              <a:rPr lang="es-ES" sz="4000" b="0" cap="none" spc="0" dirty="0" err="1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Maintenance</a:t>
            </a:r>
            <a:endParaRPr lang="es-E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19108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6</a:t>
            </a:fld>
            <a:endParaRPr lang="es-ES" dirty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D2AE9F25-1009-425C-9497-689BB754599E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An example of the effect of divergent objectives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7870" y="1412776"/>
            <a:ext cx="5676900" cy="4838700"/>
          </a:xfrm>
          <a:prstGeom prst="rect">
            <a:avLst/>
          </a:prstGeom>
        </p:spPr>
      </p:pic>
      <p:sp>
        <p:nvSpPr>
          <p:cNvPr id="65" name="Rectángulo 64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02624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ómez (2020)</a:t>
            </a:r>
            <a:endParaRPr lang="es-CO" sz="1100" dirty="0"/>
          </a:p>
        </p:txBody>
      </p:sp>
      <p:cxnSp>
        <p:nvCxnSpPr>
          <p:cNvPr id="5" name="Conector recto de flecha 4">
            <a:extLst>
              <a:ext uri="{FF2B5EF4-FFF2-40B4-BE49-F238E27FC236}">
                <a16:creationId xmlns:a16="http://schemas.microsoft.com/office/drawing/2014/main" id="{99DBBC62-551A-4C50-B558-737354624A9F}"/>
              </a:ext>
            </a:extLst>
          </p:cNvPr>
          <p:cNvCxnSpPr/>
          <p:nvPr/>
        </p:nvCxnSpPr>
        <p:spPr>
          <a:xfrm>
            <a:off x="6963630" y="2361713"/>
            <a:ext cx="57606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uadroTexto 6">
            <a:extLst>
              <a:ext uri="{FF2B5EF4-FFF2-40B4-BE49-F238E27FC236}">
                <a16:creationId xmlns:a16="http://schemas.microsoft.com/office/drawing/2014/main" id="{640364A9-F0FF-4F67-961A-9F4E2E4EF13C}"/>
              </a:ext>
            </a:extLst>
          </p:cNvPr>
          <p:cNvSpPr txBox="1"/>
          <p:nvPr/>
        </p:nvSpPr>
        <p:spPr>
          <a:xfrm>
            <a:off x="7487816" y="1900048"/>
            <a:ext cx="16561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 err="1"/>
              <a:t>Nice</a:t>
            </a:r>
            <a:r>
              <a:rPr lang="es-CO" dirty="0"/>
              <a:t>! </a:t>
            </a:r>
            <a:r>
              <a:rPr lang="es-CO" dirty="0" err="1"/>
              <a:t>But</a:t>
            </a:r>
            <a:r>
              <a:rPr lang="es-CO" dirty="0"/>
              <a:t> </a:t>
            </a:r>
            <a:r>
              <a:rPr lang="es-CO" dirty="0" err="1"/>
              <a:t>how</a:t>
            </a:r>
            <a:r>
              <a:rPr lang="es-CO" dirty="0"/>
              <a:t> can </a:t>
            </a:r>
            <a:r>
              <a:rPr lang="es-CO" dirty="0" err="1"/>
              <a:t>we</a:t>
            </a:r>
            <a:r>
              <a:rPr lang="es-CO" dirty="0"/>
              <a:t> </a:t>
            </a:r>
            <a:r>
              <a:rPr lang="es-CO" dirty="0" err="1"/>
              <a:t>enforce</a:t>
            </a:r>
            <a:r>
              <a:rPr lang="es-CO" dirty="0"/>
              <a:t> </a:t>
            </a:r>
            <a:r>
              <a:rPr lang="es-CO" dirty="0" err="1"/>
              <a:t>it</a:t>
            </a:r>
            <a:r>
              <a:rPr lang="es-CO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97924097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60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B&amp;B*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ABFCE27-21B8-4F56-B3A9-AB0EF62CA4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222" y="1922150"/>
            <a:ext cx="7818674" cy="3672408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83E59467-C44F-4938-A93B-5BED786105AB}"/>
              </a:ext>
            </a:extLst>
          </p:cNvPr>
          <p:cNvSpPr/>
          <p:nvPr/>
        </p:nvSpPr>
        <p:spPr>
          <a:xfrm>
            <a:off x="1624722" y="1192188"/>
            <a:ext cx="5894563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0" cap="none" spc="0" dirty="0" err="1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Inspection</a:t>
            </a:r>
            <a:r>
              <a:rPr lang="es-ES" sz="40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&amp; </a:t>
            </a:r>
            <a:r>
              <a:rPr lang="es-ES" sz="4000" b="0" cap="none" spc="0" dirty="0" err="1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Maintenance</a:t>
            </a:r>
            <a:endParaRPr lang="es-E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598547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61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B&amp;B*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81922" name="Picture 2">
            <a:extLst>
              <a:ext uri="{FF2B5EF4-FFF2-40B4-BE49-F238E27FC236}">
                <a16:creationId xmlns:a16="http://schemas.microsoft.com/office/drawing/2014/main" id="{085C67AE-AE6F-456D-8031-60E864EC3D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11" y="2086688"/>
            <a:ext cx="8367975" cy="3396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E1F90B2F-D410-45D9-8A45-3B7487DB1E65}"/>
              </a:ext>
            </a:extLst>
          </p:cNvPr>
          <p:cNvSpPr/>
          <p:nvPr/>
        </p:nvSpPr>
        <p:spPr>
          <a:xfrm>
            <a:off x="2287335" y="1192188"/>
            <a:ext cx="456932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0" cap="none" spc="0" dirty="0" err="1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oad’s</a:t>
            </a:r>
            <a:r>
              <a:rPr lang="es-ES" sz="40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performance</a:t>
            </a:r>
            <a:endParaRPr lang="es-E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776596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62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B&amp;B*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83970" name="Picture 2">
            <a:extLst>
              <a:ext uri="{FF2B5EF4-FFF2-40B4-BE49-F238E27FC236}">
                <a16:creationId xmlns:a16="http://schemas.microsoft.com/office/drawing/2014/main" id="{FA6704BD-EC59-4E70-929B-2BD01B0CD6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74" y="1988840"/>
            <a:ext cx="8992250" cy="3517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B062D04F-8A9E-4CD3-8222-A72A9CE41D64}"/>
              </a:ext>
            </a:extLst>
          </p:cNvPr>
          <p:cNvSpPr/>
          <p:nvPr/>
        </p:nvSpPr>
        <p:spPr>
          <a:xfrm>
            <a:off x="2287335" y="1192188"/>
            <a:ext cx="456932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0" cap="none" spc="0" dirty="0" err="1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oad’s</a:t>
            </a:r>
            <a:r>
              <a:rPr lang="es-ES" sz="40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performance</a:t>
            </a:r>
            <a:endParaRPr lang="es-E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534198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63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B&amp;B*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84994" name="Picture 2">
            <a:extLst>
              <a:ext uri="{FF2B5EF4-FFF2-40B4-BE49-F238E27FC236}">
                <a16:creationId xmlns:a16="http://schemas.microsoft.com/office/drawing/2014/main" id="{937FF243-EB4C-4D54-8764-2BEC74FA69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558" y="2113413"/>
            <a:ext cx="8944090" cy="367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0C520E1D-A10E-47DF-BF37-2B40D93967C3}"/>
              </a:ext>
            </a:extLst>
          </p:cNvPr>
          <p:cNvSpPr/>
          <p:nvPr/>
        </p:nvSpPr>
        <p:spPr>
          <a:xfrm>
            <a:off x="1624722" y="1192188"/>
            <a:ext cx="5894563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0" cap="none" spc="0" dirty="0" err="1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Inspection</a:t>
            </a:r>
            <a:r>
              <a:rPr lang="es-ES" sz="40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&amp; </a:t>
            </a:r>
            <a:r>
              <a:rPr lang="es-ES" sz="4000" b="0" cap="none" spc="0" dirty="0" err="1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Maintenance</a:t>
            </a:r>
            <a:endParaRPr lang="es-E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633559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DD1079-BB15-4209-B424-3A06039E0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64</a:t>
            </a:fld>
            <a:endParaRPr lang="es-ES" dirty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3B48FEF-F5BC-4B1D-891E-94CC964ECE5F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Results: PPP instance B&amp;B*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9F8C091-B0AC-4AA2-B7EC-402C9E2D6E19}"/>
              </a:ext>
            </a:extLst>
          </p:cNvPr>
          <p:cNvSpPr/>
          <p:nvPr/>
        </p:nvSpPr>
        <p:spPr>
          <a:xfrm>
            <a:off x="7882569" y="2127330"/>
            <a:ext cx="1197102" cy="30879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uadroTexto 5">
                <a:extLst>
                  <a:ext uri="{FF2B5EF4-FFF2-40B4-BE49-F238E27FC236}">
                    <a16:creationId xmlns:a16="http://schemas.microsoft.com/office/drawing/2014/main" id="{52CDCE0C-A535-413F-868D-40A71E4F7708}"/>
                  </a:ext>
                </a:extLst>
              </p:cNvPr>
              <p:cNvSpPr txBox="1"/>
              <p:nvPr/>
            </p:nvSpPr>
            <p:spPr>
              <a:xfrm>
                <a:off x="251520" y="2276872"/>
                <a:ext cx="8259994" cy="20261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CO" sz="2400" dirty="0"/>
                  <a:t>B&amp;B*:</a:t>
                </a:r>
              </a:p>
              <a:p>
                <a:r>
                  <a:rPr lang="es-CO" sz="2400" dirty="0"/>
                  <a:t>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s-CO" sz="2400" dirty="0" err="1"/>
                  <a:t>Had</a:t>
                </a:r>
                <a:r>
                  <a:rPr lang="es-CO" sz="2400" dirty="0"/>
                  <a:t> </a:t>
                </a:r>
                <a:r>
                  <a:rPr lang="es-CO" sz="2400" dirty="0" err="1"/>
                  <a:t>to</a:t>
                </a:r>
                <a:r>
                  <a:rPr lang="es-CO" sz="2400" dirty="0"/>
                  <a:t> </a:t>
                </a:r>
                <a:r>
                  <a:rPr lang="es-CO" sz="2400" dirty="0" err="1"/>
                  <a:t>decrease</a:t>
                </a:r>
                <a:r>
                  <a:rPr lang="es-CO" sz="2400" dirty="0"/>
                  <a:t> </a:t>
                </a:r>
                <a:r>
                  <a:rPr lang="es-CO" sz="2400" dirty="0" err="1"/>
                  <a:t>planning</a:t>
                </a:r>
                <a:r>
                  <a:rPr lang="es-CO" sz="2400" dirty="0"/>
                  <a:t> </a:t>
                </a:r>
                <a:r>
                  <a:rPr lang="es-CO" sz="2400" dirty="0" err="1"/>
                  <a:t>horizon</a:t>
                </a:r>
                <a:r>
                  <a:rPr lang="es-CO" sz="2400" dirty="0"/>
                  <a:t> </a:t>
                </a:r>
                <a:r>
                  <a:rPr lang="es-CO" sz="2400" dirty="0" err="1"/>
                  <a:t>span</a:t>
                </a:r>
                <a:r>
                  <a:rPr lang="es-CO" sz="2400" dirty="0"/>
                  <a:t> </a:t>
                </a:r>
                <a:r>
                  <a:rPr lang="es-CO" sz="2400" dirty="0" err="1"/>
                  <a:t>to</a:t>
                </a:r>
                <a:r>
                  <a:rPr lang="es-CO" sz="2400" dirty="0"/>
                  <a:t> </a:t>
                </a:r>
                <a14:m>
                  <m:oMath xmlns:m="http://schemas.openxmlformats.org/officeDocument/2006/math">
                    <m:r>
                      <a:rPr lang="es-CO" sz="2400" b="0" i="1" smtClean="0">
                        <a:latin typeface="Cambria Math" panose="02040503050406030204" pitchFamily="18" charset="0"/>
                      </a:rPr>
                      <m:t>𝑇</m:t>
                    </m:r>
                    <m:r>
                      <a:rPr lang="es-CO" sz="2400" b="0" i="1" smtClean="0">
                        <a:latin typeface="Cambria Math" panose="02040503050406030204" pitchFamily="18" charset="0"/>
                      </a:rPr>
                      <m:t>=10</m:t>
                    </m:r>
                  </m:oMath>
                </a14:m>
                <a:endParaRPr lang="es-CO" sz="2400" b="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s-CO" sz="2400" b="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400" dirty="0"/>
                  <a:t>Had to turn-off constraint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s-CO" sz="2000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s-CO" sz="2000" b="0" i="1" smtClean="0">
                            <a:latin typeface="Cambria Math" panose="02040503050406030204" pitchFamily="18" charset="0"/>
                          </a:rPr>
                          <m:t>→</m:t>
                        </m:r>
                        <m:r>
                          <a:rPr lang="es-CO" sz="2000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es-CO" sz="20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d>
                          <m:dPr>
                            <m:ctrlPr>
                              <a:rPr lang="es-CO" sz="20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s-CO" sz="20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</m:e>
                        </m:d>
                      </m:sup>
                    </m:sSubSup>
                    <m:r>
                      <a:rPr lang="es-CO" sz="2000" i="1">
                        <a:latin typeface="Cambria Math" panose="02040503050406030204" pitchFamily="18" charset="0"/>
                      </a:rPr>
                      <m:t>≤</m:t>
                    </m:r>
                    <m:sSubSup>
                      <m:sSubSupPr>
                        <m:ctrlPr>
                          <a:rPr lang="es-CO" sz="2000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s-CO" sz="2000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es-CO" sz="20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d>
                          <m:dPr>
                            <m:ctrlPr>
                              <a:rPr lang="es-CO" sz="20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s-CO" sz="2000" i="1">
                                <a:latin typeface="Cambria Math" panose="02040503050406030204" pitchFamily="18" charset="0"/>
                              </a:rPr>
                              <m:t>⋅</m:t>
                            </m:r>
                          </m:e>
                        </m:d>
                      </m:sup>
                    </m:sSubSup>
                    <m:r>
                      <a:rPr lang="es-CO" sz="2000" i="1">
                        <a:latin typeface="Cambria Math" panose="02040503050406030204" pitchFamily="18" charset="0"/>
                      </a:rPr>
                      <m:t> ∀ </m:t>
                    </m:r>
                    <m:r>
                      <m:rPr>
                        <m:sty m:val="p"/>
                      </m:rPr>
                      <a:rPr lang="es-CO" sz="2000" i="1">
                        <a:latin typeface="Cambria Math" panose="02040503050406030204" pitchFamily="18" charset="0"/>
                      </a:rPr>
                      <m:t>t</m:t>
                    </m:r>
                    <m:r>
                      <a:rPr lang="es-CO" sz="2000" i="1">
                        <a:latin typeface="Cambria Math" panose="02040503050406030204" pitchFamily="18" charset="0"/>
                      </a:rPr>
                      <m:t>∈</m:t>
                    </m:r>
                    <m:r>
                      <a:rPr lang="es-CO" sz="2000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US" sz="2400" dirty="0"/>
                  <a:t> </a:t>
                </a:r>
              </a:p>
            </p:txBody>
          </p:sp>
        </mc:Choice>
        <mc:Fallback xmlns="">
          <p:sp>
            <p:nvSpPr>
              <p:cNvPr id="6" name="CuadroTexto 5">
                <a:extLst>
                  <a:ext uri="{FF2B5EF4-FFF2-40B4-BE49-F238E27FC236}">
                    <a16:creationId xmlns:a16="http://schemas.microsoft.com/office/drawing/2014/main" id="{52CDCE0C-A535-413F-868D-40A71E4F77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520" y="2276872"/>
                <a:ext cx="8259994" cy="2026132"/>
              </a:xfrm>
              <a:prstGeom prst="rect">
                <a:avLst/>
              </a:prstGeom>
              <a:blipFill>
                <a:blip r:embed="rId2"/>
                <a:stretch>
                  <a:fillRect l="-1107" t="-2410" b="-2410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7009382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65</a:t>
            </a:fld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4189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schetti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al. (2017)</a:t>
            </a:r>
            <a:endParaRPr lang="es-CO" sz="11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3 CuadroTexto">
                <a:extLst>
                  <a:ext uri="{FF2B5EF4-FFF2-40B4-BE49-F238E27FC236}">
                    <a16:creationId xmlns:a16="http://schemas.microsoft.com/office/drawing/2014/main" id="{95CD3EFD-F09F-4BCE-AB48-7BD674146516}"/>
                  </a:ext>
                </a:extLst>
              </p:cNvPr>
              <p:cNvSpPr txBox="1"/>
              <p:nvPr/>
            </p:nvSpPr>
            <p:spPr>
              <a:xfrm>
                <a:off x="549591" y="1714702"/>
                <a:ext cx="8342889" cy="33590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2400" dirty="0"/>
                  <a:t>Given an optimal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es-MX" sz="2400" dirty="0">
                            <a:latin typeface="Cambria Math" panose="02040503050406030204" pitchFamily="18" charset="0"/>
                          </a:rPr>
                          <m:t>HPR</m:t>
                        </m:r>
                      </m:e>
                    </m:acc>
                    <m:r>
                      <a:rPr lang="es-MX" sz="2400" i="1" dirty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400" dirty="0"/>
                  <a:t>vertex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2400" b="0" i="1" dirty="0" smtClean="0">
                            <a:latin typeface="Cambria Math" panose="02040503050406030204" pitchFamily="18" charset="0"/>
                          </a:rPr>
                          <m:t>𝜉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s-MX" sz="2400" i="1" dirty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2400" i="1" dirty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i="1" dirty="0" err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2400" i="1" dirty="0" err="1"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i="1" dirty="0" err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2400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400" dirty="0"/>
                  <a:t> at every B&amp;B node:</a:t>
                </a:r>
              </a:p>
              <a:p>
                <a:pPr marL="457200" indent="-4572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2400" dirty="0"/>
                  <a:t>A cone pointed at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2400" i="1" dirty="0">
                            <a:latin typeface="Cambria Math" panose="02040503050406030204" pitchFamily="18" charset="0"/>
                          </a:rPr>
                          <m:t>𝜉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sz="2400" dirty="0"/>
                  <a:t> that contains all feasible </a:t>
                </a:r>
                <a14:m>
                  <m:oMath xmlns:m="http://schemas.openxmlformats.org/officeDocument/2006/math">
                    <m:r>
                      <a:rPr lang="es-CO" sz="2400" b="0" i="1" smtClean="0">
                        <a:latin typeface="Cambria Math" panose="02040503050406030204" pitchFamily="18" charset="0"/>
                      </a:rPr>
                      <m:t>𝜉</m:t>
                    </m:r>
                  </m:oMath>
                </a14:m>
                <a:r>
                  <a:rPr lang="en-US" sz="2400" dirty="0"/>
                  <a:t>.</a:t>
                </a:r>
              </a:p>
              <a:p>
                <a:pPr marL="457200" indent="-4572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2400" dirty="0"/>
                  <a:t>A convex set </a:t>
                </a:r>
                <a14:m>
                  <m:oMath xmlns:m="http://schemas.openxmlformats.org/officeDocument/2006/math">
                    <m:r>
                      <a:rPr lang="es-CO" sz="2400" b="0" i="1" dirty="0" smtClean="0"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en-US" sz="2400" i="1" dirty="0"/>
                  <a:t> </a:t>
                </a:r>
                <a:r>
                  <a:rPr lang="en-US" sz="2400" dirty="0"/>
                  <a:t>containing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2400" i="1" dirty="0">
                            <a:latin typeface="Cambria Math" panose="02040503050406030204" pitchFamily="18" charset="0"/>
                          </a:rPr>
                          <m:t>𝜉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sz="2400" dirty="0"/>
                  <a:t> but no other feasible </a:t>
                </a:r>
                <a14:m>
                  <m:oMath xmlns:m="http://schemas.openxmlformats.org/officeDocument/2006/math">
                    <m:r>
                      <a:rPr lang="es-CO" sz="2400" i="1" dirty="0">
                        <a:latin typeface="Cambria Math" panose="02040503050406030204" pitchFamily="18" charset="0"/>
                      </a:rPr>
                      <m:t>𝜉</m:t>
                    </m:r>
                    <m:r>
                      <a:rPr lang="es-CO" sz="2400" b="0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400" dirty="0"/>
                  <a:t>in its interior.</a:t>
                </a:r>
              </a:p>
              <a:p>
                <a:pPr>
                  <a:lnSpc>
                    <a:spcPct val="150000"/>
                  </a:lnSpc>
                </a:pPr>
                <a:r>
                  <a:rPr lang="es-CO" sz="2400" dirty="0"/>
                  <a:t>Derive a </a:t>
                </a:r>
                <a:r>
                  <a:rPr lang="es-CO" sz="2400" dirty="0" err="1"/>
                  <a:t>cutting</a:t>
                </a:r>
                <a:r>
                  <a:rPr lang="es-CO" sz="2400" dirty="0"/>
                  <a:t> </a:t>
                </a:r>
                <a:r>
                  <a:rPr lang="es-CO" sz="2400" dirty="0" err="1"/>
                  <a:t>plane</a:t>
                </a:r>
                <a:r>
                  <a:rPr lang="es-CO" sz="2400" dirty="0"/>
                  <a:t> </a:t>
                </a:r>
                <a:r>
                  <a:rPr lang="es-CO" sz="2400" dirty="0" err="1"/>
                  <a:t>that</a:t>
                </a:r>
                <a:r>
                  <a:rPr lang="es-CO" sz="2400" dirty="0"/>
                  <a:t> </a:t>
                </a:r>
                <a:r>
                  <a:rPr lang="es-CO" sz="2400" dirty="0" err="1"/>
                  <a:t>cuts</a:t>
                </a:r>
                <a:r>
                  <a:rPr lang="es-CO" sz="2400" dirty="0"/>
                  <a:t> off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CO" sz="24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2400" i="1" dirty="0">
                            <a:latin typeface="Cambria Math" panose="02040503050406030204" pitchFamily="18" charset="0"/>
                          </a:rPr>
                          <m:t>𝜉</m:t>
                        </m:r>
                      </m:e>
                      <m:sup>
                        <m:r>
                          <a:rPr lang="es-CO" sz="2400" b="0" i="1" dirty="0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s-CO" sz="2400" dirty="0"/>
                  <a:t> </a:t>
                </a:r>
                <a:r>
                  <a:rPr lang="es-CO" sz="2400" dirty="0" err="1"/>
                  <a:t>while</a:t>
                </a:r>
                <a:r>
                  <a:rPr lang="es-CO" sz="2400" dirty="0"/>
                  <a:t> </a:t>
                </a:r>
                <a:r>
                  <a:rPr lang="es-CO" sz="2400" dirty="0" err="1"/>
                  <a:t>keeping</a:t>
                </a:r>
                <a:r>
                  <a:rPr lang="es-CO" sz="2400" dirty="0"/>
                  <a:t> </a:t>
                </a:r>
                <a:r>
                  <a:rPr lang="es-CO" sz="2400" dirty="0" err="1"/>
                  <a:t>all</a:t>
                </a:r>
                <a:r>
                  <a:rPr lang="es-CO" sz="2400" dirty="0"/>
                  <a:t> </a:t>
                </a:r>
                <a:r>
                  <a:rPr lang="es-CO" sz="2400" dirty="0" err="1"/>
                  <a:t>other</a:t>
                </a:r>
                <a:r>
                  <a:rPr lang="es-CO" sz="2400" dirty="0"/>
                  <a:t> </a:t>
                </a:r>
                <a14:m>
                  <m:oMath xmlns:m="http://schemas.openxmlformats.org/officeDocument/2006/math">
                    <m:r>
                      <a:rPr lang="es-CO" sz="2400" i="1" dirty="0">
                        <a:latin typeface="Cambria Math" panose="02040503050406030204" pitchFamily="18" charset="0"/>
                      </a:rPr>
                      <m:t>𝜉</m:t>
                    </m:r>
                  </m:oMath>
                </a14:m>
                <a:r>
                  <a:rPr lang="es-CO" sz="2400" dirty="0"/>
                  <a:t> intact. </a:t>
                </a:r>
              </a:p>
            </p:txBody>
          </p:sp>
        </mc:Choice>
        <mc:Fallback xmlns="">
          <p:sp>
            <p:nvSpPr>
              <p:cNvPr id="5" name="3 CuadroTexto">
                <a:extLst>
                  <a:ext uri="{FF2B5EF4-FFF2-40B4-BE49-F238E27FC236}">
                    <a16:creationId xmlns:a16="http://schemas.microsoft.com/office/drawing/2014/main" id="{95CD3EFD-F09F-4BCE-AB48-7BD6741465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9591" y="1714702"/>
                <a:ext cx="8342889" cy="3359061"/>
              </a:xfrm>
              <a:prstGeom prst="rect">
                <a:avLst/>
              </a:prstGeom>
              <a:blipFill>
                <a:blip r:embed="rId3"/>
                <a:stretch>
                  <a:fillRect l="-1096" b="-326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ítulo 1">
            <a:extLst>
              <a:ext uri="{FF2B5EF4-FFF2-40B4-BE49-F238E27FC236}">
                <a16:creationId xmlns:a16="http://schemas.microsoft.com/office/drawing/2014/main" id="{A1D0B779-C8B1-4C6F-A86A-4584585EDF26}"/>
              </a:ext>
            </a:extLst>
          </p:cNvPr>
          <p:cNvSpPr txBox="1">
            <a:spLocks/>
          </p:cNvSpPr>
          <p:nvPr/>
        </p:nvSpPr>
        <p:spPr>
          <a:xfrm>
            <a:off x="251520" y="571702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We focus on Branch &amp; Cuts</a:t>
            </a:r>
          </a:p>
          <a:p>
            <a:pPr algn="l"/>
            <a:endParaRPr lang="en-US" sz="2400" b="1" dirty="0"/>
          </a:p>
          <a:p>
            <a:pPr algn="l"/>
            <a:endParaRPr lang="en-US" sz="2400" b="1" dirty="0"/>
          </a:p>
        </p:txBody>
      </p:sp>
      <p:cxnSp>
        <p:nvCxnSpPr>
          <p:cNvPr id="7" name="Conector: angular 6">
            <a:extLst>
              <a:ext uri="{FF2B5EF4-FFF2-40B4-BE49-F238E27FC236}">
                <a16:creationId xmlns:a16="http://schemas.microsoft.com/office/drawing/2014/main" id="{F4520859-7A2F-4B09-A97C-FE0EFE9C8DD4}"/>
              </a:ext>
            </a:extLst>
          </p:cNvPr>
          <p:cNvCxnSpPr>
            <a:cxnSpLocks/>
            <a:stCxn id="9" idx="1"/>
            <a:endCxn id="8" idx="1"/>
          </p:cNvCxnSpPr>
          <p:nvPr/>
        </p:nvCxnSpPr>
        <p:spPr>
          <a:xfrm rot="10800000" flipH="1" flipV="1">
            <a:off x="483761" y="4512517"/>
            <a:ext cx="1862681" cy="852643"/>
          </a:xfrm>
          <a:prstGeom prst="bentConnector3">
            <a:avLst>
              <a:gd name="adj1" fmla="val -83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CuadroTexto 7">
            <a:extLst>
              <a:ext uri="{FF2B5EF4-FFF2-40B4-BE49-F238E27FC236}">
                <a16:creationId xmlns:a16="http://schemas.microsoft.com/office/drawing/2014/main" id="{7C2E44EC-25B4-4D17-8F36-AF36BCB6C2DE}"/>
              </a:ext>
            </a:extLst>
          </p:cNvPr>
          <p:cNvSpPr txBox="1"/>
          <p:nvPr/>
        </p:nvSpPr>
        <p:spPr>
          <a:xfrm>
            <a:off x="2346443" y="5134328"/>
            <a:ext cx="4536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400" dirty="0" err="1"/>
              <a:t>Intersection</a:t>
            </a:r>
            <a:r>
              <a:rPr lang="es-MX" sz="2400" dirty="0"/>
              <a:t> </a:t>
            </a:r>
            <a:r>
              <a:rPr lang="es-MX" sz="2400" dirty="0" err="1"/>
              <a:t>Cuts</a:t>
            </a:r>
            <a:r>
              <a:rPr lang="es-MX" sz="2400" dirty="0"/>
              <a:t> (IC) Balas (1969)</a:t>
            </a:r>
            <a:endParaRPr lang="es-CO" sz="2400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0E557687-7EC4-4381-A923-224187B06C02}"/>
              </a:ext>
            </a:extLst>
          </p:cNvPr>
          <p:cNvSpPr/>
          <p:nvPr/>
        </p:nvSpPr>
        <p:spPr>
          <a:xfrm>
            <a:off x="483762" y="4044466"/>
            <a:ext cx="7983361" cy="9361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26438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66</a:t>
            </a:fld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4189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schetti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al. (2017)</a:t>
            </a:r>
            <a:endParaRPr lang="es-CO" sz="11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3 CuadroTexto">
                <a:extLst>
                  <a:ext uri="{FF2B5EF4-FFF2-40B4-BE49-F238E27FC236}">
                    <a16:creationId xmlns:a16="http://schemas.microsoft.com/office/drawing/2014/main" id="{95CD3EFD-F09F-4BCE-AB48-7BD674146516}"/>
                  </a:ext>
                </a:extLst>
              </p:cNvPr>
              <p:cNvSpPr txBox="1"/>
              <p:nvPr/>
            </p:nvSpPr>
            <p:spPr>
              <a:xfrm>
                <a:off x="549591" y="1714702"/>
                <a:ext cx="8342889" cy="22510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2400" dirty="0"/>
                  <a:t>Given an optimal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es-MX" sz="2400" dirty="0">
                            <a:latin typeface="Cambria Math" panose="02040503050406030204" pitchFamily="18" charset="0"/>
                          </a:rPr>
                          <m:t>HPR</m:t>
                        </m:r>
                      </m:e>
                    </m:acc>
                    <m:r>
                      <a:rPr lang="es-MX" sz="2400" i="1" dirty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400" dirty="0"/>
                  <a:t>vertex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2400" b="0" i="1" dirty="0" smtClean="0">
                            <a:latin typeface="Cambria Math" panose="02040503050406030204" pitchFamily="18" charset="0"/>
                          </a:rPr>
                          <m:t>𝜉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s-MX" sz="2400" i="1" dirty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2400" i="1" dirty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i="1" dirty="0" err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2400" i="1" dirty="0" err="1"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i="1" dirty="0" err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2400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400" dirty="0"/>
                  <a:t> at every B&amp;B node:</a:t>
                </a:r>
              </a:p>
              <a:p>
                <a:pPr marL="457200" indent="-4572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2400" dirty="0"/>
                  <a:t>A cone pointed at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2400" i="1" dirty="0">
                            <a:latin typeface="Cambria Math" panose="02040503050406030204" pitchFamily="18" charset="0"/>
                          </a:rPr>
                          <m:t>𝜉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sz="2400" dirty="0"/>
                  <a:t> that contains all feasible </a:t>
                </a:r>
                <a14:m>
                  <m:oMath xmlns:m="http://schemas.openxmlformats.org/officeDocument/2006/math">
                    <m:r>
                      <a:rPr lang="es-CO" sz="2400" b="0" i="1" smtClean="0">
                        <a:latin typeface="Cambria Math" panose="02040503050406030204" pitchFamily="18" charset="0"/>
                      </a:rPr>
                      <m:t>𝜉</m:t>
                    </m:r>
                  </m:oMath>
                </a14:m>
                <a:r>
                  <a:rPr lang="en-US" sz="2400" dirty="0"/>
                  <a:t>.</a:t>
                </a:r>
              </a:p>
              <a:p>
                <a:pPr marL="457200" indent="-4572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2400" dirty="0">
                    <a:solidFill>
                      <a:schemeClr val="bg1">
                        <a:lumMod val="85000"/>
                      </a:schemeClr>
                    </a:solidFill>
                  </a:rPr>
                  <a:t>A convex set </a:t>
                </a:r>
                <a14:m>
                  <m:oMath xmlns:m="http://schemas.openxmlformats.org/officeDocument/2006/math">
                    <m:r>
                      <a:rPr lang="es-CO" sz="2400" b="0" i="1" dirty="0" smtClean="0">
                        <a:solidFill>
                          <a:schemeClr val="bg1">
                            <a:lumMod val="85000"/>
                          </a:schemeClr>
                        </a:solidFill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en-US" sz="2400" i="1" dirty="0">
                    <a:solidFill>
                      <a:schemeClr val="bg1">
                        <a:lumMod val="85000"/>
                      </a:schemeClr>
                    </a:solidFill>
                  </a:rPr>
                  <a:t> </a:t>
                </a:r>
                <a:r>
                  <a:rPr lang="en-US" sz="2400" dirty="0">
                    <a:solidFill>
                      <a:schemeClr val="bg1">
                        <a:lumMod val="85000"/>
                      </a:schemeClr>
                    </a:solidFill>
                  </a:rPr>
                  <a:t>containing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MX" sz="2400" i="1" dirty="0">
                            <a:solidFill>
                              <a:schemeClr val="bg1">
                                <a:lumMod val="8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2400" i="1" dirty="0">
                            <a:solidFill>
                              <a:schemeClr val="bg1">
                                <a:lumMod val="8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𝜉</m:t>
                        </m:r>
                      </m:e>
                      <m:sup>
                        <m:r>
                          <a:rPr lang="es-MX" sz="2400" i="1" dirty="0">
                            <a:solidFill>
                              <a:schemeClr val="bg1">
                                <a:lumMod val="8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sz="2400" dirty="0">
                    <a:solidFill>
                      <a:schemeClr val="bg1">
                        <a:lumMod val="85000"/>
                      </a:schemeClr>
                    </a:solidFill>
                  </a:rPr>
                  <a:t> but no other feasible </a:t>
                </a:r>
                <a14:m>
                  <m:oMath xmlns:m="http://schemas.openxmlformats.org/officeDocument/2006/math">
                    <m:r>
                      <a:rPr lang="es-CO" sz="2400" i="1" dirty="0">
                        <a:solidFill>
                          <a:schemeClr val="bg1">
                            <a:lumMod val="85000"/>
                          </a:schemeClr>
                        </a:solidFill>
                        <a:latin typeface="Cambria Math" panose="02040503050406030204" pitchFamily="18" charset="0"/>
                      </a:rPr>
                      <m:t>𝜉</m:t>
                    </m:r>
                    <m:r>
                      <a:rPr lang="es-CO" sz="2400" b="0" i="1" dirty="0" smtClean="0">
                        <a:solidFill>
                          <a:schemeClr val="bg1">
                            <a:lumMod val="85000"/>
                          </a:schemeClr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400" dirty="0">
                    <a:solidFill>
                      <a:schemeClr val="bg1">
                        <a:lumMod val="85000"/>
                      </a:schemeClr>
                    </a:solidFill>
                  </a:rPr>
                  <a:t>in its interior.</a:t>
                </a:r>
              </a:p>
            </p:txBody>
          </p:sp>
        </mc:Choice>
        <mc:Fallback xmlns="">
          <p:sp>
            <p:nvSpPr>
              <p:cNvPr id="5" name="3 CuadroTexto">
                <a:extLst>
                  <a:ext uri="{FF2B5EF4-FFF2-40B4-BE49-F238E27FC236}">
                    <a16:creationId xmlns:a16="http://schemas.microsoft.com/office/drawing/2014/main" id="{95CD3EFD-F09F-4BCE-AB48-7BD6741465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9591" y="1714702"/>
                <a:ext cx="8342889" cy="2251065"/>
              </a:xfrm>
              <a:prstGeom prst="rect">
                <a:avLst/>
              </a:prstGeom>
              <a:blipFill>
                <a:blip r:embed="rId3"/>
                <a:stretch>
                  <a:fillRect l="-1096" b="-5135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ítulo 1">
            <a:extLst>
              <a:ext uri="{FF2B5EF4-FFF2-40B4-BE49-F238E27FC236}">
                <a16:creationId xmlns:a16="http://schemas.microsoft.com/office/drawing/2014/main" id="{A1D0B779-C8B1-4C6F-A86A-4584585EDF26}"/>
              </a:ext>
            </a:extLst>
          </p:cNvPr>
          <p:cNvSpPr txBox="1">
            <a:spLocks/>
          </p:cNvSpPr>
          <p:nvPr/>
        </p:nvSpPr>
        <p:spPr>
          <a:xfrm>
            <a:off x="251520" y="571702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Intersection cuts generation</a:t>
            </a:r>
          </a:p>
          <a:p>
            <a:pPr algn="l"/>
            <a:endParaRPr lang="en-US" sz="2400" b="1" dirty="0"/>
          </a:p>
          <a:p>
            <a:pPr algn="l"/>
            <a:endParaRPr lang="en-US" sz="2400" b="1" dirty="0"/>
          </a:p>
          <a:p>
            <a:pPr algn="l"/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91095716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67</a:t>
            </a:fld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4189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schetti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al. (2017)</a:t>
            </a:r>
            <a:endParaRPr lang="es-CO" sz="11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3 CuadroTexto">
                <a:extLst>
                  <a:ext uri="{FF2B5EF4-FFF2-40B4-BE49-F238E27FC236}">
                    <a16:creationId xmlns:a16="http://schemas.microsoft.com/office/drawing/2014/main" id="{95CD3EFD-F09F-4BCE-AB48-7BD674146516}"/>
                  </a:ext>
                </a:extLst>
              </p:cNvPr>
              <p:cNvSpPr txBox="1"/>
              <p:nvPr/>
            </p:nvSpPr>
            <p:spPr>
              <a:xfrm>
                <a:off x="549591" y="1714702"/>
                <a:ext cx="8342889" cy="22510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2400" dirty="0"/>
                  <a:t>Given an optimal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es-MX" sz="2400" dirty="0">
                            <a:latin typeface="Cambria Math" panose="02040503050406030204" pitchFamily="18" charset="0"/>
                          </a:rPr>
                          <m:t>HPR</m:t>
                        </m:r>
                      </m:e>
                    </m:acc>
                    <m:r>
                      <a:rPr lang="es-MX" sz="2400" i="1" dirty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400" dirty="0"/>
                  <a:t>vertex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2400" b="0" i="1" dirty="0" smtClean="0">
                            <a:latin typeface="Cambria Math" panose="02040503050406030204" pitchFamily="18" charset="0"/>
                          </a:rPr>
                          <m:t>𝜉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s-MX" sz="2400" i="1" dirty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2400" i="1" dirty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i="1" dirty="0" err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2400" i="1" dirty="0" err="1"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es-MX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i="1" dirty="0" err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r>
                          <a:rPr lang="es-MX" sz="24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sz="2400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400" dirty="0"/>
                  <a:t> at every B&amp;B node:</a:t>
                </a:r>
              </a:p>
              <a:p>
                <a:pPr marL="457200" indent="-4572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2400" dirty="0">
                    <a:solidFill>
                      <a:schemeClr val="bg1">
                        <a:lumMod val="85000"/>
                      </a:schemeClr>
                    </a:solidFill>
                  </a:rPr>
                  <a:t>A cone pointed at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MX" sz="2400" i="1" dirty="0">
                            <a:solidFill>
                              <a:schemeClr val="bg1">
                                <a:lumMod val="8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2400" i="1" dirty="0">
                            <a:solidFill>
                              <a:schemeClr val="bg1">
                                <a:lumMod val="8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𝜉</m:t>
                        </m:r>
                      </m:e>
                      <m:sup>
                        <m:r>
                          <a:rPr lang="es-MX" sz="2400" i="1" dirty="0">
                            <a:solidFill>
                              <a:schemeClr val="bg1">
                                <a:lumMod val="8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sz="2400" dirty="0">
                    <a:solidFill>
                      <a:schemeClr val="bg1">
                        <a:lumMod val="85000"/>
                      </a:schemeClr>
                    </a:solidFill>
                  </a:rPr>
                  <a:t> that contains all feasible </a:t>
                </a:r>
                <a14:m>
                  <m:oMath xmlns:m="http://schemas.openxmlformats.org/officeDocument/2006/math">
                    <m:r>
                      <a:rPr lang="es-CO" sz="2400" b="0" i="1" dirty="0" smtClean="0">
                        <a:solidFill>
                          <a:schemeClr val="bg1">
                            <a:lumMod val="85000"/>
                          </a:schemeClr>
                        </a:solidFill>
                        <a:latin typeface="Cambria Math" panose="02040503050406030204" pitchFamily="18" charset="0"/>
                      </a:rPr>
                      <m:t>𝜉</m:t>
                    </m:r>
                  </m:oMath>
                </a14:m>
                <a:r>
                  <a:rPr lang="en-US" sz="2400" dirty="0">
                    <a:solidFill>
                      <a:schemeClr val="bg1">
                        <a:lumMod val="85000"/>
                      </a:schemeClr>
                    </a:solidFill>
                  </a:rPr>
                  <a:t>.</a:t>
                </a:r>
              </a:p>
              <a:p>
                <a:pPr marL="457200" indent="-4572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2400" dirty="0">
                    <a:solidFill>
                      <a:schemeClr val="tx1"/>
                    </a:solidFill>
                  </a:rPr>
                  <a:t>A convex set </a:t>
                </a:r>
                <a14:m>
                  <m:oMath xmlns:m="http://schemas.openxmlformats.org/officeDocument/2006/math">
                    <m:r>
                      <a:rPr lang="es-CO" sz="24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en-US" sz="2400" i="1" dirty="0">
                    <a:solidFill>
                      <a:schemeClr val="tx1"/>
                    </a:solidFill>
                  </a:rPr>
                  <a:t> </a:t>
                </a:r>
                <a:r>
                  <a:rPr lang="en-US" sz="2400" dirty="0">
                    <a:solidFill>
                      <a:schemeClr val="tx1"/>
                    </a:solidFill>
                  </a:rPr>
                  <a:t>containing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MX" sz="2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s-CO" sz="2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𝜉</m:t>
                        </m:r>
                      </m:e>
                      <m:sup>
                        <m:r>
                          <a:rPr lang="es-MX" sz="2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sz="2400" dirty="0">
                    <a:solidFill>
                      <a:schemeClr val="tx1"/>
                    </a:solidFill>
                  </a:rPr>
                  <a:t> but no other feasible </a:t>
                </a:r>
                <a14:m>
                  <m:oMath xmlns:m="http://schemas.openxmlformats.org/officeDocument/2006/math">
                    <m:r>
                      <a:rPr lang="es-CO" sz="24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𝜉</m:t>
                    </m:r>
                    <m:r>
                      <a:rPr lang="es-CO" sz="24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400" dirty="0">
                    <a:solidFill>
                      <a:schemeClr val="tx1"/>
                    </a:solidFill>
                  </a:rPr>
                  <a:t>in its interior.</a:t>
                </a:r>
              </a:p>
            </p:txBody>
          </p:sp>
        </mc:Choice>
        <mc:Fallback xmlns="">
          <p:sp>
            <p:nvSpPr>
              <p:cNvPr id="5" name="3 CuadroTexto">
                <a:extLst>
                  <a:ext uri="{FF2B5EF4-FFF2-40B4-BE49-F238E27FC236}">
                    <a16:creationId xmlns:a16="http://schemas.microsoft.com/office/drawing/2014/main" id="{95CD3EFD-F09F-4BCE-AB48-7BD6741465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9591" y="1714702"/>
                <a:ext cx="8342889" cy="2251065"/>
              </a:xfrm>
              <a:prstGeom prst="rect">
                <a:avLst/>
              </a:prstGeom>
              <a:blipFill>
                <a:blip r:embed="rId3"/>
                <a:stretch>
                  <a:fillRect l="-1096" b="-5135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ítulo 1">
            <a:extLst>
              <a:ext uri="{FF2B5EF4-FFF2-40B4-BE49-F238E27FC236}">
                <a16:creationId xmlns:a16="http://schemas.microsoft.com/office/drawing/2014/main" id="{141AD5A7-32E7-45A5-8F1E-ACD7267C3D18}"/>
              </a:ext>
            </a:extLst>
          </p:cNvPr>
          <p:cNvSpPr txBox="1">
            <a:spLocks/>
          </p:cNvSpPr>
          <p:nvPr/>
        </p:nvSpPr>
        <p:spPr>
          <a:xfrm>
            <a:off x="251520" y="571702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Intersection cuts generation</a:t>
            </a:r>
          </a:p>
          <a:p>
            <a:pPr algn="l"/>
            <a:endParaRPr lang="en-US" sz="2400" b="1" dirty="0"/>
          </a:p>
          <a:p>
            <a:pPr algn="l"/>
            <a:endParaRPr lang="en-US" sz="2400" b="1" dirty="0"/>
          </a:p>
          <a:p>
            <a:pPr algn="l"/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09034442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68</a:t>
            </a:fld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7422054" y="6093296"/>
            <a:ext cx="14189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schetti</a:t>
            </a:r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t al. (2017)</a:t>
            </a:r>
            <a:endParaRPr lang="es-CO" sz="1100" dirty="0"/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A1D0B779-C8B1-4C6F-A86A-4584585EDF26}"/>
              </a:ext>
            </a:extLst>
          </p:cNvPr>
          <p:cNvSpPr txBox="1">
            <a:spLocks/>
          </p:cNvSpPr>
          <p:nvPr/>
        </p:nvSpPr>
        <p:spPr>
          <a:xfrm>
            <a:off x="251520" y="571702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Intersection cuts generation</a:t>
            </a:r>
          </a:p>
          <a:p>
            <a:pPr algn="l"/>
            <a:endParaRPr lang="en-US" sz="2400" b="1" dirty="0"/>
          </a:p>
          <a:p>
            <a:pPr algn="l"/>
            <a:endParaRPr lang="en-US" sz="2400" b="1" dirty="0"/>
          </a:p>
          <a:p>
            <a:pPr algn="l"/>
            <a:endParaRPr lang="en-US" sz="24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0AD05120-DD6B-4586-929C-D6618707718F}"/>
                  </a:ext>
                </a:extLst>
              </p:cNvPr>
              <p:cNvSpPr txBox="1"/>
              <p:nvPr/>
            </p:nvSpPr>
            <p:spPr>
              <a:xfrm>
                <a:off x="272356" y="1401218"/>
                <a:ext cx="5144806" cy="210852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s-CO" dirty="0"/>
                  <a:t>L</a:t>
                </a:r>
                <a:r>
                  <a:rPr lang="es-CO" dirty="0" err="1"/>
                  <a:t>et</a:t>
                </a:r>
                <a:r>
                  <a:rPr lang="es-CO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O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s-CO" b="0" i="0" smtClean="0">
                            <a:latin typeface="Cambria Math" panose="02040503050406030204" pitchFamily="18" charset="0"/>
                          </a:rPr>
                          <m:t>J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s-CO" b="0" i="0" smtClean="0">
                            <a:latin typeface="Cambria Math" panose="02040503050406030204" pitchFamily="18" charset="0"/>
                          </a:rPr>
                          <m:t>F</m:t>
                        </m:r>
                      </m:sub>
                    </m:sSub>
                    <m:r>
                      <a:rPr lang="es-CO" b="0" i="0" smtClean="0">
                        <a:latin typeface="Cambria Math" panose="02040503050406030204" pitchFamily="18" charset="0"/>
                      </a:rPr>
                      <m:t>≔</m:t>
                    </m:r>
                    <m:d>
                      <m:dPr>
                        <m:begChr m:val="{"/>
                        <m:endChr m:val="}"/>
                        <m:ctrlPr>
                          <a:rPr lang="es-CO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s-CO" b="0" i="0" smtClean="0">
                            <a:latin typeface="Cambria Math" panose="02040503050406030204" pitchFamily="18" charset="0"/>
                          </a:rPr>
                          <m:t>j</m:t>
                        </m:r>
                        <m:r>
                          <a:rPr lang="es-CO" b="0" i="0" smtClean="0">
                            <a:latin typeface="Cambria Math" panose="02040503050406030204" pitchFamily="18" charset="0"/>
                          </a:rPr>
                          <m:t>∈</m:t>
                        </m:r>
                        <m:sSub>
                          <m:sSubPr>
                            <m:ctrlPr>
                              <a:rPr lang="es-CO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s-CO" b="0" i="0" smtClean="0">
                                <a:latin typeface="Cambria Math" panose="02040503050406030204" pitchFamily="18" charset="0"/>
                              </a:rPr>
                              <m:t>N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s-CO" b="0" i="0" smtClean="0">
                                <a:latin typeface="Cambria Math" panose="02040503050406030204" pitchFamily="18" charset="0"/>
                              </a:rPr>
                              <m:t>x</m:t>
                            </m:r>
                          </m:sub>
                        </m:sSub>
                        <m:r>
                          <a:rPr lang="es-CO" b="0" i="0" smtClean="0">
                            <a:latin typeface="Cambria Math" panose="02040503050406030204" pitchFamily="18" charset="0"/>
                          </a:rPr>
                          <m:t>:</m:t>
                        </m:r>
                        <m:sSub>
                          <m:sSubPr>
                            <m:ctrlPr>
                              <a:rPr lang="es-CO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s-CO" b="0" i="0" smtClean="0">
                                <a:latin typeface="Cambria Math" panose="02040503050406030204" pitchFamily="18" charset="0"/>
                              </a:rPr>
                              <m:t>A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s-CO" b="0" i="0" smtClean="0">
                                <a:latin typeface="Cambria Math" panose="02040503050406030204" pitchFamily="18" charset="0"/>
                              </a:rPr>
                              <m:t>j</m:t>
                            </m:r>
                          </m:sub>
                        </m:sSub>
                        <m:r>
                          <a:rPr lang="es-CO" b="0" i="0" smtClean="0">
                            <a:latin typeface="Cambria Math" panose="02040503050406030204" pitchFamily="18" charset="0"/>
                          </a:rPr>
                          <m:t>≠0</m:t>
                        </m:r>
                      </m:e>
                    </m:d>
                  </m:oMath>
                </a14:m>
                <a:endParaRPr lang="es-CO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s-CO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s-CO" dirty="0" err="1"/>
                  <a:t>Solve</a:t>
                </a:r>
                <a:r>
                  <a:rPr lang="es-CO" dirty="0"/>
                  <a:t> </a:t>
                </a:r>
                <a:r>
                  <a:rPr lang="es-CO" dirty="0" err="1"/>
                  <a:t>follower</a:t>
                </a:r>
                <a:r>
                  <a:rPr lang="es-CO" dirty="0"/>
                  <a:t> MILP </a:t>
                </a:r>
                <a:r>
                  <a:rPr lang="es-CO" dirty="0" err="1"/>
                  <a:t>with</a:t>
                </a:r>
                <a:r>
                  <a:rPr lang="es-CO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O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s-CO" b="0" i="0" smtClean="0">
                            <a:latin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s-CO" b="0" i="0" smtClean="0">
                            <a:latin typeface="Cambria Math" panose="02040503050406030204" pitchFamily="18" charset="0"/>
                          </a:rPr>
                          <m:t>j</m:t>
                        </m:r>
                      </m:sub>
                    </m:sSub>
                    <m:r>
                      <a:rPr lang="es-CO" b="0" i="0" smtClean="0">
                        <a:latin typeface="Cambria Math" panose="02040503050406030204" pitchFamily="18" charset="0"/>
                      </a:rPr>
                      <m:t>=</m:t>
                    </m:r>
                    <m:sSubSup>
                      <m:sSubSupPr>
                        <m:ctrlPr>
                          <a:rPr lang="es-CO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es-CO" b="0" i="0" smtClean="0">
                            <a:latin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s-CO" b="0" i="0" smtClean="0">
                            <a:latin typeface="Cambria Math" panose="02040503050406030204" pitchFamily="18" charset="0"/>
                          </a:rPr>
                          <m:t>j</m:t>
                        </m:r>
                      </m:sub>
                      <m:sup>
                        <m:r>
                          <a:rPr lang="es-CO" b="0" i="0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</m:oMath>
                </a14:m>
                <a:r>
                  <a:rPr lang="es-CO" dirty="0"/>
                  <a:t> </a:t>
                </a:r>
                <a:r>
                  <a:rPr lang="es-CO" dirty="0" err="1"/>
                  <a:t>to</a:t>
                </a:r>
                <a:r>
                  <a:rPr lang="es-CO" dirty="0"/>
                  <a:t> comput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s-CO" b="0" i="0" smtClean="0">
                        <a:latin typeface="Cambria Math" panose="02040503050406030204" pitchFamily="18" charset="0"/>
                      </a:rPr>
                      <m:t>Φ</m:t>
                    </m:r>
                    <m:d>
                      <m:dPr>
                        <m:ctrlPr>
                          <a:rPr lang="es-CO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s-CO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m:rPr>
                                <m:sty m:val="p"/>
                              </m:rPr>
                              <a:rPr lang="es-CO" b="0" i="0" smtClean="0">
                                <a:latin typeface="Cambria Math" panose="02040503050406030204" pitchFamily="18" charset="0"/>
                              </a:rPr>
                              <m:t>x</m:t>
                            </m:r>
                          </m:e>
                          <m:sup>
                            <m:r>
                              <a:rPr lang="es-CO" b="0" i="0" smtClean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</m:oMath>
                </a14:m>
                <a:endParaRPr lang="es-CO" b="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s-CO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s-CO" dirty="0" err="1"/>
                  <a:t>Solve</a:t>
                </a:r>
                <a:r>
                  <a:rPr lang="es-CO" dirty="0"/>
                  <a:t> HPR </a:t>
                </a:r>
                <a:r>
                  <a:rPr lang="es-CO" dirty="0" err="1"/>
                  <a:t>by</a:t>
                </a:r>
                <a:r>
                  <a:rPr lang="es-CO" dirty="0"/>
                  <a:t> </a:t>
                </a:r>
                <a:r>
                  <a:rPr lang="es-CO" dirty="0" err="1"/>
                  <a:t>adding</a:t>
                </a:r>
                <a:r>
                  <a:rPr lang="es-CO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O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s-CO" i="0">
                            <a:latin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s-CO" i="0">
                            <a:latin typeface="Cambria Math" panose="02040503050406030204" pitchFamily="18" charset="0"/>
                          </a:rPr>
                          <m:t>j</m:t>
                        </m:r>
                      </m:sub>
                    </m:sSub>
                    <m:r>
                      <a:rPr lang="es-CO" i="0">
                        <a:latin typeface="Cambria Math" panose="02040503050406030204" pitchFamily="18" charset="0"/>
                      </a:rPr>
                      <m:t>=</m:t>
                    </m:r>
                    <m:sSubSup>
                      <m:sSubSupPr>
                        <m:ctrlPr>
                          <a:rPr lang="es-CO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es-CO" i="0">
                            <a:latin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s-CO" i="0">
                            <a:latin typeface="Cambria Math" panose="02040503050406030204" pitchFamily="18" charset="0"/>
                          </a:rPr>
                          <m:t>j</m:t>
                        </m:r>
                      </m:sub>
                      <m:sup>
                        <m:r>
                          <a:rPr lang="es-CO" i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</m:oMath>
                </a14:m>
                <a:r>
                  <a:rPr lang="es-CO" dirty="0"/>
                  <a:t> and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CO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s-CO" b="0" i="0" smtClean="0">
                            <a:latin typeface="Cambria Math" panose="02040503050406030204" pitchFamily="18" charset="0"/>
                          </a:rPr>
                          <m:t>d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es-CO" b="0" i="0" smtClean="0">
                            <a:latin typeface="Cambria Math" panose="02040503050406030204" pitchFamily="18" charset="0"/>
                          </a:rPr>
                          <m:t>T</m:t>
                        </m:r>
                      </m:sup>
                    </m:sSup>
                    <m:r>
                      <m:rPr>
                        <m:sty m:val="p"/>
                      </m:rPr>
                      <a:rPr lang="es-CO" b="0" i="0" smtClean="0">
                        <a:latin typeface="Cambria Math" panose="02040503050406030204" pitchFamily="18" charset="0"/>
                      </a:rPr>
                      <m:t>y</m:t>
                    </m:r>
                    <m:r>
                      <a:rPr lang="es-CO" b="0" i="0" smtClean="0">
                        <a:latin typeface="Cambria Math" panose="02040503050406030204" pitchFamily="18" charset="0"/>
                      </a:rPr>
                      <m:t>≤</m:t>
                    </m:r>
                    <m:r>
                      <m:rPr>
                        <m:sty m:val="p"/>
                      </m:rPr>
                      <a:rPr lang="es-CO" b="0" i="0" smtClean="0">
                        <a:latin typeface="Cambria Math" panose="02040503050406030204" pitchFamily="18" charset="0"/>
                      </a:rPr>
                      <m:t>Φ</m:t>
                    </m:r>
                    <m:d>
                      <m:dPr>
                        <m:ctrlPr>
                          <a:rPr lang="es-CO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s-CO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m:rPr>
                                <m:sty m:val="p"/>
                              </m:rPr>
                              <a:rPr lang="es-CO" b="0" i="0" smtClean="0">
                                <a:latin typeface="Cambria Math" panose="02040503050406030204" pitchFamily="18" charset="0"/>
                              </a:rPr>
                              <m:t>x</m:t>
                            </m:r>
                          </m:e>
                          <m:sup>
                            <m:r>
                              <a:rPr lang="es-CO" b="0" i="0" smtClean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</m:oMath>
                </a14:m>
                <a:endParaRPr lang="es-CO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s-CO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s-CO" dirty="0" err="1"/>
                  <a:t>Let</a:t>
                </a:r>
                <a:r>
                  <a:rPr lang="es-CO" dirty="0"/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s-CO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s-CO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m:rPr>
                                <m:sty m:val="p"/>
                              </m:rPr>
                              <a:rPr lang="es-CO" b="0" i="0" smtClean="0">
                                <a:latin typeface="Cambria Math" panose="02040503050406030204" pitchFamily="18" charset="0"/>
                              </a:rPr>
                              <m:t>x</m:t>
                            </m:r>
                          </m:e>
                          <m:sup>
                            <m:r>
                              <a:rPr lang="es-CO" b="0" i="0" smtClean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es-CO" b="0" i="0" smtClean="0">
                            <a:latin typeface="Cambria Math" panose="02040503050406030204" pitchFamily="18" charset="0"/>
                          </a:rPr>
                          <m:t>,</m:t>
                        </m:r>
                        <m:acc>
                          <m:accPr>
                            <m:chr m:val="̂"/>
                            <m:ctrlPr>
                              <a:rPr lang="es-CO" b="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m:rPr>
                                <m:sty m:val="p"/>
                              </m:rPr>
                              <a:rPr lang="es-CO" b="0" i="0" smtClean="0">
                                <a:latin typeface="Cambria Math" panose="02040503050406030204" pitchFamily="18" charset="0"/>
                              </a:rPr>
                              <m:t>y</m:t>
                            </m:r>
                          </m:e>
                        </m:acc>
                      </m:e>
                    </m:d>
                  </m:oMath>
                </a14:m>
                <a:r>
                  <a:rPr lang="es-CO" dirty="0"/>
                  <a:t> be </a:t>
                </a:r>
                <a:r>
                  <a:rPr lang="es-CO" dirty="0" err="1"/>
                  <a:t>the</a:t>
                </a:r>
                <a:r>
                  <a:rPr lang="es-CO" dirty="0"/>
                  <a:t> </a:t>
                </a:r>
                <a:r>
                  <a:rPr lang="es-CO" dirty="0" err="1"/>
                  <a:t>best</a:t>
                </a:r>
                <a:r>
                  <a:rPr lang="es-CO" dirty="0"/>
                  <a:t> </a:t>
                </a:r>
                <a:r>
                  <a:rPr lang="es-CO" dirty="0" err="1"/>
                  <a:t>bi-level</a:t>
                </a:r>
                <a:r>
                  <a:rPr lang="es-CO" dirty="0"/>
                  <a:t> </a:t>
                </a:r>
                <a:r>
                  <a:rPr lang="es-CO" dirty="0" err="1"/>
                  <a:t>solution</a:t>
                </a:r>
                <a:endParaRPr lang="es-CO" dirty="0"/>
              </a:p>
            </p:txBody>
          </p:sp>
        </mc:Choice>
        <mc:Fallback xmlns="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0AD05120-DD6B-4586-929C-D661870771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356" y="1401218"/>
                <a:ext cx="5144806" cy="2108526"/>
              </a:xfrm>
              <a:prstGeom prst="rect">
                <a:avLst/>
              </a:prstGeom>
              <a:blipFill>
                <a:blip r:embed="rId3"/>
                <a:stretch>
                  <a:fillRect l="-2607" t="-2601" b="-3179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CuadroTexto 7">
                <a:extLst>
                  <a:ext uri="{FF2B5EF4-FFF2-40B4-BE49-F238E27FC236}">
                    <a16:creationId xmlns:a16="http://schemas.microsoft.com/office/drawing/2014/main" id="{5F088E84-0BFF-4733-A046-6C614FC3AE12}"/>
                  </a:ext>
                </a:extLst>
              </p:cNvPr>
              <p:cNvSpPr txBox="1"/>
              <p:nvPr/>
            </p:nvSpPr>
            <p:spPr>
              <a:xfrm>
                <a:off x="1054338" y="4221088"/>
                <a:ext cx="6899773" cy="51501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CO" sz="2800" b="0" i="0" smtClean="0">
                          <a:latin typeface="Cambria Math" panose="02040503050406030204" pitchFamily="18" charset="0"/>
                        </a:rPr>
                        <m:t>H</m:t>
                      </m:r>
                      <m:sSup>
                        <m:sSupPr>
                          <m:ctrlPr>
                            <a:rPr lang="es-CO" sz="28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s-CO" sz="2800" b="0" i="0" smtClean="0">
                              <a:latin typeface="Cambria Math" panose="02040503050406030204" pitchFamily="18" charset="0"/>
                            </a:rPr>
                            <m:t>C</m:t>
                          </m:r>
                        </m:e>
                        <m:sup>
                          <m:r>
                            <a:rPr lang="es-CO" sz="2800" b="0" i="0" smtClean="0"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d>
                        <m:dPr>
                          <m:ctrlPr>
                            <a:rPr lang="es-CO" sz="2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s-CO" sz="2800" b="0" i="0" smtClean="0">
                              <a:latin typeface="Cambria Math" panose="02040503050406030204" pitchFamily="18" charset="0"/>
                            </a:rPr>
                            <m:t>x</m:t>
                          </m:r>
                        </m:e>
                      </m:d>
                      <m:r>
                        <a:rPr lang="es-CO" sz="2800" b="0" i="0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}"/>
                          <m:ctrlPr>
                            <a:rPr lang="es-CO" sz="2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ctrlPr>
                                <a:rPr lang="es-CO" sz="28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x</m:t>
                              </m:r>
                              <m: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m:rPr>
                                  <m:sty m:val="p"/>
                                </m:rP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y</m:t>
                              </m:r>
                            </m:e>
                          </m:d>
                          <m:r>
                            <a:rPr lang="es-CO" sz="2800" b="0" i="0" smtClean="0">
                              <a:latin typeface="Cambria Math" panose="02040503050406030204" pitchFamily="18" charset="0"/>
                            </a:rPr>
                            <m:t>∈</m:t>
                          </m:r>
                          <m:sSup>
                            <m:sSupPr>
                              <m:ctrlPr>
                                <a:rPr lang="es-CO" sz="2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ℝ</m:t>
                              </m:r>
                            </m:e>
                            <m:sup>
                              <m:r>
                                <m:rPr>
                                  <m:sty m:val="p"/>
                                </m:rP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n</m:t>
                              </m:r>
                            </m:sup>
                          </m:sSup>
                          <m:r>
                            <a:rPr lang="es-CO" sz="2800" b="0" i="0" smtClean="0">
                              <a:latin typeface="Cambria Math" panose="02040503050406030204" pitchFamily="18" charset="0"/>
                            </a:rPr>
                            <m:t>:</m:t>
                          </m:r>
                          <m:sSubSup>
                            <m:sSubSupPr>
                              <m:ctrlPr>
                                <a:rPr lang="es-CO" sz="28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x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j</m:t>
                              </m:r>
                            </m:sub>
                            <m:sup>
                              <m: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  <m:r>
                            <a:rPr lang="es-CO" sz="2800" b="0" i="0" smtClean="0">
                              <a:latin typeface="Cambria Math" panose="02040503050406030204" pitchFamily="18" charset="0"/>
                            </a:rPr>
                            <m:t>−1≤</m:t>
                          </m:r>
                          <m:sSub>
                            <m:sSubPr>
                              <m:ctrlPr>
                                <a:rPr lang="es-CO" sz="28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x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j</m:t>
                              </m:r>
                            </m:sub>
                          </m:sSub>
                          <m:r>
                            <a:rPr lang="es-CO" sz="2800" b="0" i="0" smtClean="0">
                              <a:latin typeface="Cambria Math" panose="02040503050406030204" pitchFamily="18" charset="0"/>
                            </a:rPr>
                            <m:t>≤</m:t>
                          </m:r>
                          <m:sSubSup>
                            <m:sSubSupPr>
                              <m:ctrlPr>
                                <a:rPr lang="es-CO" sz="28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x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j</m:t>
                              </m:r>
                            </m:sub>
                            <m:sup>
                              <m:r>
                                <a:rPr lang="es-CO" sz="2800" b="0" i="0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  <m:r>
                            <a:rPr lang="es-CO" sz="2800" b="0" i="0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</m:oMath>
                  </m:oMathPara>
                </a14:m>
                <a:endParaRPr lang="es-CO" sz="2800" dirty="0"/>
              </a:p>
            </p:txBody>
          </p:sp>
        </mc:Choice>
        <mc:Fallback xmlns="">
          <p:sp>
            <p:nvSpPr>
              <p:cNvPr id="8" name="CuadroTexto 7">
                <a:extLst>
                  <a:ext uri="{FF2B5EF4-FFF2-40B4-BE49-F238E27FC236}">
                    <a16:creationId xmlns:a16="http://schemas.microsoft.com/office/drawing/2014/main" id="{5F088E84-0BFF-4733-A046-6C614FC3AE1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4338" y="4221088"/>
                <a:ext cx="6899773" cy="51501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57366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78E7C8C-D8AD-4323-A63B-B37D92459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7</a:t>
            </a:fld>
            <a:endParaRPr lang="es-E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CFC7A020-53B4-4A50-AA1E-958AE3BB35BC}"/>
                  </a:ext>
                </a:extLst>
              </p:cNvPr>
              <p:cNvSpPr/>
              <p:nvPr/>
            </p:nvSpPr>
            <p:spPr>
              <a:xfrm>
                <a:off x="539995" y="1579260"/>
                <a:ext cx="87235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s-CO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s-CO" b="0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min</m:t>
                          </m:r>
                        </m:fName>
                        <m:e/>
                      </m:func>
                    </m:oMath>
                  </m:oMathPara>
                </a14:m>
                <a:endParaRPr lang="es-CO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" name="Rectángulo 1">
                <a:extLst>
                  <a:ext uri="{FF2B5EF4-FFF2-40B4-BE49-F238E27FC236}">
                    <a16:creationId xmlns:a16="http://schemas.microsoft.com/office/drawing/2014/main" id="{CFC7A020-53B4-4A50-AA1E-958AE3BB35B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995" y="1579260"/>
                <a:ext cx="872355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/>
              <p:nvPr/>
            </p:nvSpPr>
            <p:spPr>
              <a:xfrm>
                <a:off x="58821" y="1983667"/>
                <a:ext cx="60087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sz="1600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𝐬</m:t>
                      </m:r>
                      <m:r>
                        <a:rPr lang="es-MX" sz="1600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s-CO" sz="1600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𝐭</m:t>
                      </m:r>
                      <m:r>
                        <a:rPr lang="es-CO" sz="1600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.,</m:t>
                      </m:r>
                    </m:oMath>
                  </m:oMathPara>
                </a14:m>
                <a:endParaRPr lang="es-CO" sz="1600" b="1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C03FF77E-E8F2-4380-AB79-3CB23C6AE43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21" y="1983667"/>
                <a:ext cx="600870" cy="33855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ángulo 14">
                <a:extLst>
                  <a:ext uri="{FF2B5EF4-FFF2-40B4-BE49-F238E27FC236}">
                    <a16:creationId xmlns:a16="http://schemas.microsoft.com/office/drawing/2014/main" id="{D05CBB55-E632-45DA-BA3C-81014D0019C5}"/>
                  </a:ext>
                </a:extLst>
              </p:cNvPr>
              <p:cNvSpPr/>
              <p:nvPr/>
            </p:nvSpPr>
            <p:spPr>
              <a:xfrm>
                <a:off x="1155106" y="2453311"/>
                <a:ext cx="182780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𝐀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  <m:r>
                        <a:rPr lang="es-MX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CO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𝐁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  <m:r>
                        <a:rPr lang="es-CO" b="1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s-MX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𝐛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</m:sSub>
                    </m:oMath>
                  </m:oMathPara>
                </a14:m>
                <a:endParaRPr lang="es-CO" b="1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5" name="Rectángulo 14">
                <a:extLst>
                  <a:ext uri="{FF2B5EF4-FFF2-40B4-BE49-F238E27FC236}">
                    <a16:creationId xmlns:a16="http://schemas.microsoft.com/office/drawing/2014/main" id="{D05CBB55-E632-45DA-BA3C-81014D0019C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5106" y="2453311"/>
                <a:ext cx="1827808" cy="369332"/>
              </a:xfrm>
              <a:prstGeom prst="rect">
                <a:avLst/>
              </a:prstGeom>
              <a:blipFill>
                <a:blip r:embed="rId5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ángulo 18">
                <a:extLst>
                  <a:ext uri="{FF2B5EF4-FFF2-40B4-BE49-F238E27FC236}">
                    <a16:creationId xmlns:a16="http://schemas.microsoft.com/office/drawing/2014/main" id="{7DDEA1F6-497F-4D91-A638-EB6677FE212B}"/>
                  </a:ext>
                </a:extLst>
              </p:cNvPr>
              <p:cNvSpPr/>
              <p:nvPr/>
            </p:nvSpPr>
            <p:spPr>
              <a:xfrm>
                <a:off x="1499303" y="3412888"/>
                <a:ext cx="5519331" cy="406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s-CO" b="1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𝐲</m:t>
                    </m:r>
                    <m:r>
                      <a:rPr lang="es-CO" b="1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s-CO" b="1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𝐚𝐫𝐠𝐦𝐢𝐧</m:t>
                    </m:r>
                    <m:r>
                      <a:rPr lang="es-CO" b="1" i="1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{</m:t>
                    </m:r>
                    <m:sSubSup>
                      <m:sSubSupPr>
                        <m:ctrlPr>
                          <a:rPr lang="es-MX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s-CO" b="1" i="0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𝐝</m:t>
                        </m:r>
                      </m:e>
                      <m:sub>
                        <m:r>
                          <a:rPr lang="es-CO" b="1" i="0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  <m:sup>
                        <m:r>
                          <a:rPr lang="es-MX" b="1" i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𝐓</m:t>
                        </m:r>
                      </m:sup>
                    </m:sSubSup>
                    <m:r>
                      <a:rPr lang="es-MX" b="1" i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𝐲</m:t>
                    </m:r>
                    <m:r>
                      <a:rPr lang="es-CO" b="1" i="1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´ : </m:t>
                    </m:r>
                    <m:sSub>
                      <m:sSubPr>
                        <m:ctrlPr>
                          <a:rPr lang="es-CO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𝐁</m:t>
                        </m:r>
                      </m:e>
                      <m:sub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𝐲</m:t>
                    </m:r>
                    <m:r>
                      <a:rPr lang="es-CO" b="1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´+</m:t>
                    </m:r>
                    <m:sSub>
                      <m:sSubPr>
                        <m:ctrlPr>
                          <a:rPr lang="es-MX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𝐀</m:t>
                        </m:r>
                      </m:e>
                      <m:sub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𝐱</m:t>
                    </m:r>
                    <m:r>
                      <a:rPr lang="es-CO" b="1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s-CO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𝐛</m:t>
                        </m:r>
                      </m:e>
                      <m:sub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</m:sub>
                    </m:sSub>
                    <m:r>
                      <a:rPr lang="es-CO" b="1" i="1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s-CO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  <m:r>
                          <a:rPr lang="es-CO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´</m:t>
                        </m:r>
                      </m:e>
                      <m:sub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𝐣</m:t>
                        </m:r>
                      </m:sub>
                    </m:sSub>
                    <m:r>
                      <a:rPr lang="es-CO" b="1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∈</m:t>
                    </m:r>
                    <m:r>
                      <a:rPr lang="es-CO" b="1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ℤ</m:t>
                    </m:r>
                    <m:r>
                      <a:rPr lang="es-CO" b="1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s-CO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𝐲</m:t>
                        </m:r>
                        <m:r>
                          <a:rPr lang="es-CO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´</m:t>
                        </m:r>
                      </m:e>
                      <m:sub>
                        <m:r>
                          <a:rPr lang="es-CO" b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𝐢</m:t>
                        </m:r>
                      </m:sub>
                    </m:sSub>
                    <m:r>
                      <a:rPr lang="es-CO" b="1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≥</m:t>
                    </m:r>
                    <m:r>
                      <a:rPr lang="es-CO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es-CO" dirty="0">
                    <a:solidFill>
                      <a:srgbClr val="00B050"/>
                    </a:solidFill>
                  </a:rPr>
                  <a:t>}</a:t>
                </a:r>
                <a:endParaRPr lang="es-CO" b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9" name="Rectángulo 18">
                <a:extLst>
                  <a:ext uri="{FF2B5EF4-FFF2-40B4-BE49-F238E27FC236}">
                    <a16:creationId xmlns:a16="http://schemas.microsoft.com/office/drawing/2014/main" id="{7DDEA1F6-497F-4D91-A638-EB6677FE212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99303" y="3412888"/>
                <a:ext cx="5519331" cy="406522"/>
              </a:xfrm>
              <a:prstGeom prst="rect">
                <a:avLst/>
              </a:prstGeom>
              <a:blipFill>
                <a:blip r:embed="rId6"/>
                <a:stretch>
                  <a:fillRect t="-5970" b="-16418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Imagen 10">
            <a:extLst>
              <a:ext uri="{FF2B5EF4-FFF2-40B4-BE49-F238E27FC236}">
                <a16:creationId xmlns:a16="http://schemas.microsoft.com/office/drawing/2014/main" id="{C7EBC365-AF6F-4D30-8A2C-BF4028C44D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6537" y="1579261"/>
            <a:ext cx="376529" cy="40440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CCE45D15-84F5-4722-9227-5BF8B45AE5B6}"/>
                  </a:ext>
                </a:extLst>
              </p:cNvPr>
              <p:cNvSpPr/>
              <p:nvPr/>
            </p:nvSpPr>
            <p:spPr>
              <a:xfrm>
                <a:off x="1598496" y="4471843"/>
                <a:ext cx="1593770" cy="3952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CO" b="1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b>
                        <m:r>
                          <a:rPr lang="es-CO" b="1" i="0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𝐣</m:t>
                        </m:r>
                      </m:sub>
                    </m:sSub>
                    <m:r>
                      <a:rPr lang="es-CO" b="1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</a:rPr>
                      <m:t>∈</m:t>
                    </m:r>
                    <m:r>
                      <a:rPr lang="es-CO" b="1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</a:rPr>
                      <m:t>ℤ</m:t>
                    </m:r>
                  </m:oMath>
                </a14:m>
                <a:r>
                  <a:rPr lang="es-CO" b="1" dirty="0">
                    <a:solidFill>
                      <a:srgbClr val="0070C0"/>
                    </a:solidFill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O" b="1" i="1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O" b="1" i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𝐱</m:t>
                        </m:r>
                      </m:e>
                      <m:sub>
                        <m:r>
                          <a:rPr lang="es-CO" b="1" i="0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𝐢</m:t>
                        </m:r>
                      </m:sub>
                    </m:sSub>
                    <m:r>
                      <a:rPr lang="es-CO" b="1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</a:rPr>
                      <m:t>≥</m:t>
                    </m:r>
                    <m:r>
                      <a:rPr lang="es-CO" b="1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s-CO" b="1" dirty="0">
                    <a:solidFill>
                      <a:srgbClr val="0070C0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CCE45D15-84F5-4722-9227-5BF8B45AE5B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8496" y="4471843"/>
                <a:ext cx="1593770" cy="395236"/>
              </a:xfrm>
              <a:prstGeom prst="rect">
                <a:avLst/>
              </a:prstGeom>
              <a:blipFill>
                <a:blip r:embed="rId9"/>
                <a:stretch>
                  <a:fillRect t="-7813" r="-1908" b="-20313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D39AB9C0-1C09-4176-9F43-A8FFECD1E6E5}"/>
                  </a:ext>
                </a:extLst>
              </p:cNvPr>
              <p:cNvSpPr/>
              <p:nvPr/>
            </p:nvSpPr>
            <p:spPr>
              <a:xfrm>
                <a:off x="1155106" y="1553152"/>
                <a:ext cx="1240275" cy="4004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s-CO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𝐜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sub>
                        <m:sup>
                          <m:r>
                            <a:rPr lang="es-CO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s-CO" b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CO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s-CO" b="1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s-CO" b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𝐜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sub>
                        <m:sup>
                          <m:r>
                            <a:rPr lang="es-CO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s-CO" b="1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es-CO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13" name="Rectángulo 12">
                <a:extLst>
                  <a:ext uri="{FF2B5EF4-FFF2-40B4-BE49-F238E27FC236}">
                    <a16:creationId xmlns:a16="http://schemas.microsoft.com/office/drawing/2014/main" id="{D39AB9C0-1C09-4176-9F43-A8FFECD1E6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5106" y="1553152"/>
                <a:ext cx="1240275" cy="400431"/>
              </a:xfrm>
              <a:prstGeom prst="rect">
                <a:avLst/>
              </a:prstGeom>
              <a:blipFill>
                <a:blip r:embed="rId10"/>
                <a:stretch>
                  <a:fillRect b="-6154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ángulo 15">
                <a:extLst>
                  <a:ext uri="{FF2B5EF4-FFF2-40B4-BE49-F238E27FC236}">
                    <a16:creationId xmlns:a16="http://schemas.microsoft.com/office/drawing/2014/main" id="{8A6C7BE3-6062-471F-819F-4616597B73E9}"/>
                  </a:ext>
                </a:extLst>
              </p:cNvPr>
              <p:cNvSpPr/>
              <p:nvPr/>
            </p:nvSpPr>
            <p:spPr>
              <a:xfrm>
                <a:off x="7297165" y="1988605"/>
                <a:ext cx="1163267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sz="1600" b="1" i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𝐏𝐫𝐢𝐧𝐜𝐢𝐩𝐚𝐥</m:t>
                      </m:r>
                    </m:oMath>
                  </m:oMathPara>
                </a14:m>
                <a:endParaRPr lang="es-CO" sz="1600" b="1" dirty="0">
                  <a:solidFill>
                    <a:srgbClr val="0070C0"/>
                  </a:solidFill>
                </a:endParaRPr>
              </a:p>
              <a:p>
                <a:pPr algn="ctr"/>
                <a:r>
                  <a:rPr lang="es-CO" sz="1600" b="1" dirty="0">
                    <a:solidFill>
                      <a:srgbClr val="0070C0"/>
                    </a:solidFill>
                  </a:rPr>
                  <a:t>(leader)</a:t>
                </a:r>
              </a:p>
            </p:txBody>
          </p:sp>
        </mc:Choice>
        <mc:Fallback xmlns="">
          <p:sp>
            <p:nvSpPr>
              <p:cNvPr id="16" name="Rectángulo 15">
                <a:extLst>
                  <a:ext uri="{FF2B5EF4-FFF2-40B4-BE49-F238E27FC236}">
                    <a16:creationId xmlns:a16="http://schemas.microsoft.com/office/drawing/2014/main" id="{8A6C7BE3-6062-471F-819F-4616597B73E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7165" y="1988605"/>
                <a:ext cx="1163267" cy="584775"/>
              </a:xfrm>
              <a:prstGeom prst="rect">
                <a:avLst/>
              </a:prstGeom>
              <a:blipFill>
                <a:blip r:embed="rId11"/>
                <a:stretch>
                  <a:fillRect b="-12500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ángulo 16">
                <a:extLst>
                  <a:ext uri="{FF2B5EF4-FFF2-40B4-BE49-F238E27FC236}">
                    <a16:creationId xmlns:a16="http://schemas.microsoft.com/office/drawing/2014/main" id="{5753F130-125F-4032-8FCE-8B4E1C8BE7BB}"/>
                  </a:ext>
                </a:extLst>
              </p:cNvPr>
              <p:cNvSpPr/>
              <p:nvPr/>
            </p:nvSpPr>
            <p:spPr>
              <a:xfrm>
                <a:off x="7437652" y="3359615"/>
                <a:ext cx="1022780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sz="1600" b="1" i="0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𝐀𝐠𝐞𝐧𝐭</m:t>
                      </m:r>
                    </m:oMath>
                  </m:oMathPara>
                </a14:m>
                <a:endParaRPr lang="es-CO" sz="1600" b="1" dirty="0">
                  <a:solidFill>
                    <a:srgbClr val="00B050"/>
                  </a:solidFill>
                </a:endParaRPr>
              </a:p>
              <a:p>
                <a:pPr algn="ctr"/>
                <a:r>
                  <a:rPr lang="es-CO" sz="1600" b="1" dirty="0">
                    <a:solidFill>
                      <a:srgbClr val="00B050"/>
                    </a:solidFill>
                  </a:rPr>
                  <a:t>(</a:t>
                </a:r>
                <a:r>
                  <a:rPr lang="es-CO" sz="1600" b="1" dirty="0" err="1">
                    <a:solidFill>
                      <a:srgbClr val="00B050"/>
                    </a:solidFill>
                  </a:rPr>
                  <a:t>follower</a:t>
                </a:r>
                <a:r>
                  <a:rPr lang="es-CO" sz="1600" b="1" dirty="0">
                    <a:solidFill>
                      <a:srgbClr val="00B050"/>
                    </a:solidFill>
                  </a:rPr>
                  <a:t>)</a:t>
                </a:r>
              </a:p>
            </p:txBody>
          </p:sp>
        </mc:Choice>
        <mc:Fallback xmlns="">
          <p:sp>
            <p:nvSpPr>
              <p:cNvPr id="17" name="Rectángulo 16">
                <a:extLst>
                  <a:ext uri="{FF2B5EF4-FFF2-40B4-BE49-F238E27FC236}">
                    <a16:creationId xmlns:a16="http://schemas.microsoft.com/office/drawing/2014/main" id="{5753F130-125F-4032-8FCE-8B4E1C8BE7B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37652" y="3359615"/>
                <a:ext cx="1022780" cy="584775"/>
              </a:xfrm>
              <a:prstGeom prst="rect">
                <a:avLst/>
              </a:prstGeom>
              <a:blipFill>
                <a:blip r:embed="rId12"/>
                <a:stretch>
                  <a:fillRect l="-2381" r="-2976" b="-12500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ángulo 17">
            <a:extLst>
              <a:ext uri="{FF2B5EF4-FFF2-40B4-BE49-F238E27FC236}">
                <a16:creationId xmlns:a16="http://schemas.microsoft.com/office/drawing/2014/main" id="{36E3C48F-431C-46D3-8315-220B3D32C641}"/>
              </a:ext>
            </a:extLst>
          </p:cNvPr>
          <p:cNvSpPr/>
          <p:nvPr/>
        </p:nvSpPr>
        <p:spPr>
          <a:xfrm>
            <a:off x="6293667" y="6335742"/>
            <a:ext cx="172194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inha, Malo, &amp; Deb (2017)</a:t>
            </a:r>
            <a:endParaRPr lang="es-CO" sz="1100" dirty="0"/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978D60FE-363D-4103-886D-B0CFAECB285D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Proposal: model PPPs as bi-level optimization problem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7FA14C7F-9BE6-4915-8D1D-3CFAC1E61DCF}"/>
                  </a:ext>
                </a:extLst>
              </p:cNvPr>
              <p:cNvSpPr/>
              <p:nvPr/>
            </p:nvSpPr>
            <p:spPr>
              <a:xfrm>
                <a:off x="1604575" y="5012925"/>
                <a:ext cx="1527213" cy="3952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CO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b>
                          <m:r>
                            <a:rPr lang="es-CO" b="1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𝐣</m:t>
                          </m:r>
                        </m:sub>
                      </m:sSub>
                      <m:r>
                        <a:rPr lang="es-CO" b="1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∈</m:t>
                      </m:r>
                      <m:r>
                        <a:rPr lang="es-CO" b="1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ℤ</m:t>
                      </m:r>
                      <m:r>
                        <a:rPr lang="es-CO" b="1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s-CO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CO" b="1" i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b>
                          <m:r>
                            <a:rPr lang="es-CO" b="1" i="0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𝐢</m:t>
                          </m:r>
                        </m:sub>
                      </m:sSub>
                      <m:r>
                        <a:rPr lang="es-CO" b="1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≥0</m:t>
                      </m:r>
                    </m:oMath>
                  </m:oMathPara>
                </a14:m>
                <a:endParaRPr lang="es-CO" b="1" i="1" dirty="0">
                  <a:solidFill>
                    <a:srgbClr val="0070C0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7FA14C7F-9BE6-4915-8D1D-3CFAC1E61DC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4575" y="5012925"/>
                <a:ext cx="1527213" cy="395236"/>
              </a:xfrm>
              <a:prstGeom prst="rect">
                <a:avLst/>
              </a:prstGeom>
              <a:blipFill>
                <a:blip r:embed="rId15"/>
                <a:stretch>
                  <a:fillRect b="-9231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7826" name="Picture 2">
            <a:extLst>
              <a:ext uri="{FF2B5EF4-FFF2-40B4-BE49-F238E27FC236}">
                <a16:creationId xmlns:a16="http://schemas.microsoft.com/office/drawing/2014/main" id="{A72F9D2C-5AE8-4CC1-B003-720C05F78E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5243" y="5554007"/>
            <a:ext cx="376171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BA1E669F-F7F4-49AF-8CE7-28BA31EC9890}"/>
              </a:ext>
            </a:extLst>
          </p:cNvPr>
          <p:cNvSpPr/>
          <p:nvPr/>
        </p:nvSpPr>
        <p:spPr>
          <a:xfrm>
            <a:off x="1598496" y="4509120"/>
            <a:ext cx="796391" cy="875146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C61C8C3D-6B5E-4AC9-980E-7E219882DFD6}"/>
              </a:ext>
            </a:extLst>
          </p:cNvPr>
          <p:cNvSpPr/>
          <p:nvPr/>
        </p:nvSpPr>
        <p:spPr>
          <a:xfrm>
            <a:off x="5076056" y="6335742"/>
            <a:ext cx="124425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ang et al.(1993)</a:t>
            </a:r>
            <a:endParaRPr lang="es-CO" sz="1100" dirty="0"/>
          </a:p>
        </p:txBody>
      </p:sp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15D9C6AE-E0A2-4134-8F32-4A4339FE783D}"/>
              </a:ext>
            </a:extLst>
          </p:cNvPr>
          <p:cNvCxnSpPr/>
          <p:nvPr/>
        </p:nvCxnSpPr>
        <p:spPr>
          <a:xfrm>
            <a:off x="4644008" y="3068960"/>
            <a:ext cx="0" cy="432048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2" name="Conector recto de flecha 21">
            <a:extLst>
              <a:ext uri="{FF2B5EF4-FFF2-40B4-BE49-F238E27FC236}">
                <a16:creationId xmlns:a16="http://schemas.microsoft.com/office/drawing/2014/main" id="{03DE42B9-AD36-4154-8948-C1D5C5492D1B}"/>
              </a:ext>
            </a:extLst>
          </p:cNvPr>
          <p:cNvCxnSpPr>
            <a:cxnSpLocks/>
          </p:cNvCxnSpPr>
          <p:nvPr/>
        </p:nvCxnSpPr>
        <p:spPr>
          <a:xfrm flipH="1">
            <a:off x="2348719" y="1743020"/>
            <a:ext cx="576064" cy="364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0964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F9C92DA-FD69-4036-9858-879B69C798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8</a:t>
            </a:fld>
            <a:endParaRPr lang="es-ES" dirty="0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F2C1BEC6-BAC8-4DC4-B8AE-1C3C3E063AB3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Literature review</a:t>
            </a:r>
          </a:p>
        </p:txBody>
      </p:sp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A433FB35-EE75-4B97-9E7B-D1DB84A3A1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5492014"/>
              </p:ext>
            </p:extLst>
          </p:nvPr>
        </p:nvGraphicFramePr>
        <p:xfrm>
          <a:off x="2480370" y="1644788"/>
          <a:ext cx="3771900" cy="4171950"/>
        </p:xfrm>
        <a:graphic>
          <a:graphicData uri="http://schemas.openxmlformats.org/drawingml/2006/table">
            <a:tbl>
              <a:tblPr/>
              <a:tblGrid>
                <a:gridCol w="1536700">
                  <a:extLst>
                    <a:ext uri="{9D8B030D-6E8A-4147-A177-3AD203B41FA5}">
                      <a16:colId xmlns:a16="http://schemas.microsoft.com/office/drawing/2014/main" val="1329512993"/>
                    </a:ext>
                  </a:extLst>
                </a:gridCol>
                <a:gridCol w="1473200">
                  <a:extLst>
                    <a:ext uri="{9D8B030D-6E8A-4147-A177-3AD203B41FA5}">
                      <a16:colId xmlns:a16="http://schemas.microsoft.com/office/drawing/2014/main" val="2932862846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704646935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Author(s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Titl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Yea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471262"/>
                  </a:ext>
                </a:extLst>
              </a:tr>
              <a:tr h="962025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Fischetti, Matteo</a:t>
                      </a:r>
                      <a:b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</a:b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Ljubić, Ivana</a:t>
                      </a:r>
                      <a:b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</a:b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Monaci, Michele</a:t>
                      </a:r>
                      <a:b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</a:b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Sinnl, Marku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A new general-purpose algorithm for mixed-integer bilevel linear program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5276235"/>
                  </a:ext>
                </a:extLst>
              </a:tr>
              <a:tr h="93345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Tang, Yen</a:t>
                      </a:r>
                      <a:b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</a:br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Richard, Jean Philippe P.</a:t>
                      </a:r>
                      <a:b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</a:br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Smith, J. Col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A class of algorithms for mixed-integer bilevel min–max optimizati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2131372"/>
                  </a:ext>
                </a:extLst>
              </a:tr>
              <a:tr h="1343025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Sinha, Ankur</a:t>
                      </a:r>
                      <a:b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</a:br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Malo, Pekka</a:t>
                      </a:r>
                      <a:b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</a:br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Deb, Kalyanmo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A Review on Bilevel Optimization: From Classical to Evolutionary Approaches and Application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7774543"/>
                  </a:ext>
                </a:extLst>
              </a:tr>
              <a:tr h="733425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Bard, J.</a:t>
                      </a:r>
                      <a:b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</a:br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Moore, J.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A Branch and Bound Algorithm for the Bilevel Programming Probl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19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6117607"/>
                  </a:ext>
                </a:extLst>
              </a:tr>
            </a:tbl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49C5E531-7E1C-49BF-8991-8997CA9A11D1}"/>
              </a:ext>
            </a:extLst>
          </p:cNvPr>
          <p:cNvSpPr/>
          <p:nvPr/>
        </p:nvSpPr>
        <p:spPr>
          <a:xfrm>
            <a:off x="2480370" y="1916832"/>
            <a:ext cx="3771900" cy="87095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987510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187C83-0496-4AE2-8EAD-9802BD3FEE52}" type="slidenum">
              <a:rPr lang="es-ES" smtClean="0"/>
              <a:pPr>
                <a:defRPr/>
              </a:pPr>
              <a:t>9</a:t>
            </a:fld>
            <a:endParaRPr lang="es-E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C05FEAE-C72B-4867-A5A2-73840FA33E6D}"/>
              </a:ext>
            </a:extLst>
          </p:cNvPr>
          <p:cNvSpPr txBox="1">
            <a:spLocks/>
          </p:cNvSpPr>
          <p:nvPr/>
        </p:nvSpPr>
        <p:spPr>
          <a:xfrm>
            <a:off x="251520" y="620688"/>
            <a:ext cx="8229600" cy="1143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b="1" dirty="0"/>
              <a:t>M.Sc. thesis overview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868B41B3-E6CB-467B-8AAF-F87BC52A485F}"/>
              </a:ext>
            </a:extLst>
          </p:cNvPr>
          <p:cNvSpPr/>
          <p:nvPr/>
        </p:nvSpPr>
        <p:spPr>
          <a:xfrm>
            <a:off x="359024" y="1446909"/>
            <a:ext cx="8533456" cy="5644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ext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problems with </a:t>
            </a:r>
            <a:r>
              <a:rPr lang="en-US" sz="2000" strike="sngStrike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certainty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decisions of others</a:t>
            </a:r>
          </a:p>
          <a:p>
            <a:pPr marL="742950" lvl="1" indent="-285750">
              <a:lnSpc>
                <a:spcPct val="107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s-CO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plication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use OR to address the PA problem in PPPs</a:t>
            </a:r>
          </a:p>
          <a:p>
            <a:pPr marL="285750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thodology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mixed-integer bi-level optimization</a:t>
            </a:r>
          </a:p>
          <a:p>
            <a:pPr marL="285750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 bi-level features to MIP model of PPPs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ild bi-level alternative formulation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 bi-level Branch &amp; Bound</a:t>
            </a:r>
          </a:p>
          <a:p>
            <a:pPr marL="1257300" lvl="2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 customized Branch &amp; Bound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 bi-level Branch &amp; Cut</a:t>
            </a:r>
          </a:p>
          <a:p>
            <a:pPr marL="1257300" lvl="2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 customized Branch &amp; Bound</a:t>
            </a:r>
          </a:p>
          <a:p>
            <a:pPr marL="1257300" lvl="2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 Intersection Cuts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nt results</a:t>
            </a:r>
          </a:p>
          <a:p>
            <a:pPr marL="1257300" lvl="2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Aft>
                <a:spcPts val="0"/>
              </a:spcAft>
            </a:pPr>
            <a:endParaRPr lang="es-CO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BFB8403-FF37-4B9B-B61F-E698B1F02AB6}"/>
              </a:ext>
            </a:extLst>
          </p:cNvPr>
          <p:cNvSpPr/>
          <p:nvPr/>
        </p:nvSpPr>
        <p:spPr>
          <a:xfrm>
            <a:off x="6170048" y="6346046"/>
            <a:ext cx="187102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>
                <a:latin typeface="Calibri" panose="020F0502020204030204" pitchFamily="34" charset="0"/>
                <a:cs typeface="Times New Roman" panose="02020603050405020304" pitchFamily="18" charset="0"/>
              </a:rPr>
              <a:t>(Fischetti</a:t>
            </a:r>
            <a:r>
              <a:rPr lang="en-US" sz="1100" dirty="0">
                <a:latin typeface="Calibri" panose="020F0502020204030204" pitchFamily="34" charset="0"/>
                <a:cs typeface="Times New Roman" panose="02020603050405020304" pitchFamily="18" charset="0"/>
              </a:rPr>
              <a:t> et al., 2016 &amp; 2017)</a:t>
            </a:r>
            <a:endParaRPr lang="es-CO" sz="1100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17F49BFC-D954-4816-8A65-C57DFBBCC0EF}"/>
              </a:ext>
            </a:extLst>
          </p:cNvPr>
          <p:cNvSpPr/>
          <p:nvPr/>
        </p:nvSpPr>
        <p:spPr>
          <a:xfrm>
            <a:off x="4788024" y="6346046"/>
            <a:ext cx="130997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ómez et al. (2020)</a:t>
            </a:r>
            <a:endParaRPr lang="es-CO" sz="1100" dirty="0"/>
          </a:p>
        </p:txBody>
      </p:sp>
    </p:spTree>
    <p:extLst>
      <p:ext uri="{BB962C8B-B14F-4D97-AF65-F5344CB8AC3E}">
        <p14:creationId xmlns:p14="http://schemas.microsoft.com/office/powerpoint/2010/main" val="811625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a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 Afiliación 3_más de una afiliación en la parte inferior derech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defRPr dirty="0">
            <a:noFill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011</TotalTime>
  <Words>3838</Words>
  <Application>Microsoft Office PowerPoint</Application>
  <PresentationFormat>On-screen Show (4:3)</PresentationFormat>
  <Paragraphs>669</Paragraphs>
  <Slides>68</Slides>
  <Notes>52</Notes>
  <HiddenSlides>2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8</vt:i4>
      </vt:variant>
    </vt:vector>
  </HeadingPairs>
  <TitlesOfParts>
    <vt:vector size="80" baseType="lpstr">
      <vt:lpstr>Arial</vt:lpstr>
      <vt:lpstr>Calibri</vt:lpstr>
      <vt:lpstr>Calibri Light</vt:lpstr>
      <vt:lpstr>Cambria</vt:lpstr>
      <vt:lpstr>Cambria Math</vt:lpstr>
      <vt:lpstr>Courier New</vt:lpstr>
      <vt:lpstr>Times New Roman</vt:lpstr>
      <vt:lpstr>Wingdings</vt:lpstr>
      <vt:lpstr>CopaTheme</vt:lpstr>
      <vt:lpstr>Con Afiliación 3_más de una afiliación en la parte inferior derecha</vt:lpstr>
      <vt:lpstr>3_Tema de Office</vt:lpstr>
      <vt:lpstr>think-cell Slide</vt:lpstr>
      <vt:lpstr>Addressing the Principal-Agent Problem  in Public Private Partnerships via  Mixed-Integer Bi-level Linear Programm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alisman Energy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rdo Salazar, Andres Felipe</dc:creator>
  <cp:lastModifiedBy>Juan Jose Beltran Ruiz</cp:lastModifiedBy>
  <cp:revision>1906</cp:revision>
  <dcterms:created xsi:type="dcterms:W3CDTF">2014-04-24T12:04:20Z</dcterms:created>
  <dcterms:modified xsi:type="dcterms:W3CDTF">2022-09-03T15:26:55Z</dcterms:modified>
</cp:coreProperties>
</file>